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461" r:id="rId2"/>
    <p:sldId id="259" r:id="rId3"/>
    <p:sldId id="260" r:id="rId4"/>
    <p:sldId id="261" r:id="rId5"/>
    <p:sldId id="262" r:id="rId6"/>
    <p:sldId id="263" r:id="rId7"/>
    <p:sldId id="265" r:id="rId8"/>
    <p:sldId id="266" r:id="rId9"/>
    <p:sldId id="267" r:id="rId10"/>
    <p:sldId id="457" r:id="rId11"/>
    <p:sldId id="460" r:id="rId12"/>
    <p:sldId id="464" r:id="rId13"/>
    <p:sldId id="268" r:id="rId14"/>
    <p:sldId id="46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umar, Pulkit (HCL)" initials="KP(" lastIdx="1" clrIdx="0">
    <p:extLst>
      <p:ext uri="{19B8F6BF-5375-455C-9EA6-DF929625EA0E}">
        <p15:presenceInfo xmlns:p15="http://schemas.microsoft.com/office/powerpoint/2012/main" userId="Kumar, Pulkit (HCL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19636E-70F8-4E65-909A-8D92274ED7F9}" v="21" dt="2021-09-24T11:16:14.2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F2DCCA-02FE-4B38-A352-E359D488DEA4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74D547-575E-4CA3-89BB-EE7C35DF09A6}">
      <dgm:prSet phldrT="[Text]" custT="1"/>
      <dgm:spPr/>
      <dgm:t>
        <a:bodyPr/>
        <a:lstStyle/>
        <a:p>
          <a:r>
            <a:rPr lang="en-US" sz="1200" dirty="0"/>
            <a:t>Code development – in IDE</a:t>
          </a:r>
        </a:p>
      </dgm:t>
    </dgm:pt>
    <dgm:pt modelId="{EEC30761-5114-4CBF-8F81-AAD74CF5258A}" type="parTrans" cxnId="{CEDD17F1-33CB-415C-B271-DE04012D882D}">
      <dgm:prSet/>
      <dgm:spPr/>
      <dgm:t>
        <a:bodyPr/>
        <a:lstStyle/>
        <a:p>
          <a:endParaRPr lang="en-US" sz="2800"/>
        </a:p>
      </dgm:t>
    </dgm:pt>
    <dgm:pt modelId="{89E2230A-6463-4865-BF68-648D026DE378}" type="sibTrans" cxnId="{CEDD17F1-33CB-415C-B271-DE04012D882D}">
      <dgm:prSet/>
      <dgm:spPr/>
      <dgm:t>
        <a:bodyPr/>
        <a:lstStyle/>
        <a:p>
          <a:endParaRPr lang="en-US" sz="2800"/>
        </a:p>
      </dgm:t>
    </dgm:pt>
    <dgm:pt modelId="{51370462-91D6-4A14-8452-DF7E1FD31707}">
      <dgm:prSet phldrT="[Text]" custT="1"/>
      <dgm:spPr/>
      <dgm:t>
        <a:bodyPr/>
        <a:lstStyle/>
        <a:p>
          <a:r>
            <a:rPr lang="en-US" sz="1200" dirty="0"/>
            <a:t>SVN </a:t>
          </a:r>
          <a:r>
            <a:rPr lang="en-US" sz="1200" dirty="0" err="1"/>
            <a:t>Checkin</a:t>
          </a:r>
          <a:endParaRPr lang="en-US" sz="1200" dirty="0"/>
        </a:p>
      </dgm:t>
    </dgm:pt>
    <dgm:pt modelId="{83F98837-662D-446D-A8A6-23C6F04E8DE9}" type="parTrans" cxnId="{0CFE07A9-B831-44CE-A7AD-981222C943E6}">
      <dgm:prSet/>
      <dgm:spPr/>
      <dgm:t>
        <a:bodyPr/>
        <a:lstStyle/>
        <a:p>
          <a:endParaRPr lang="en-US" sz="2800"/>
        </a:p>
      </dgm:t>
    </dgm:pt>
    <dgm:pt modelId="{7F63E38C-6D95-4657-8ABA-48418AFB5EF1}" type="sibTrans" cxnId="{0CFE07A9-B831-44CE-A7AD-981222C943E6}">
      <dgm:prSet/>
      <dgm:spPr/>
      <dgm:t>
        <a:bodyPr/>
        <a:lstStyle/>
        <a:p>
          <a:endParaRPr lang="en-US" sz="2800"/>
        </a:p>
      </dgm:t>
    </dgm:pt>
    <dgm:pt modelId="{468FFBD8-F4BD-4AF5-B65B-1D7F199AEB49}">
      <dgm:prSet phldrT="[Text]" custT="1"/>
      <dgm:spPr/>
      <dgm:t>
        <a:bodyPr/>
        <a:lstStyle/>
        <a:p>
          <a:r>
            <a:rPr lang="en-US" sz="1200" dirty="0"/>
            <a:t>Jenkins – Dev Build</a:t>
          </a:r>
        </a:p>
      </dgm:t>
    </dgm:pt>
    <dgm:pt modelId="{D6DB1827-AABD-40A0-9961-8606F83071E3}" type="parTrans" cxnId="{60114AF4-17AC-4CF9-898B-CE040A035D97}">
      <dgm:prSet/>
      <dgm:spPr/>
      <dgm:t>
        <a:bodyPr/>
        <a:lstStyle/>
        <a:p>
          <a:endParaRPr lang="en-US" sz="2800"/>
        </a:p>
      </dgm:t>
    </dgm:pt>
    <dgm:pt modelId="{D3FBF746-CB0B-4C13-827D-2FEA0893BD9C}" type="sibTrans" cxnId="{60114AF4-17AC-4CF9-898B-CE040A035D97}">
      <dgm:prSet/>
      <dgm:spPr/>
      <dgm:t>
        <a:bodyPr/>
        <a:lstStyle/>
        <a:p>
          <a:endParaRPr lang="en-US" sz="2800"/>
        </a:p>
      </dgm:t>
    </dgm:pt>
    <dgm:pt modelId="{96615FD9-77EB-4F9D-99DC-6338B5BA2041}">
      <dgm:prSet phldrT="[Text]" custT="1"/>
      <dgm:spPr/>
      <dgm:t>
        <a:bodyPr/>
        <a:lstStyle/>
        <a:p>
          <a:r>
            <a:rPr lang="en-US" sz="1200" dirty="0">
              <a:solidFill>
                <a:srgbClr val="FF0000"/>
              </a:solidFill>
            </a:rPr>
            <a:t>Secure Assist – in IDE – Catch Vulnerabilities at project level</a:t>
          </a:r>
        </a:p>
      </dgm:t>
    </dgm:pt>
    <dgm:pt modelId="{8CC42373-CB8B-4F95-85F6-37B37B24A443}" type="parTrans" cxnId="{0AF66D77-3155-4E6B-AE27-B6A8FFD67861}">
      <dgm:prSet/>
      <dgm:spPr/>
      <dgm:t>
        <a:bodyPr/>
        <a:lstStyle/>
        <a:p>
          <a:endParaRPr lang="en-US" sz="2800"/>
        </a:p>
      </dgm:t>
    </dgm:pt>
    <dgm:pt modelId="{501C0534-35AB-4ADC-812D-C79C6D400EEC}" type="sibTrans" cxnId="{0AF66D77-3155-4E6B-AE27-B6A8FFD67861}">
      <dgm:prSet/>
      <dgm:spPr/>
      <dgm:t>
        <a:bodyPr/>
        <a:lstStyle/>
        <a:p>
          <a:endParaRPr lang="en-US" sz="2800"/>
        </a:p>
      </dgm:t>
    </dgm:pt>
    <dgm:pt modelId="{8B6960F5-ABCC-409C-A4B8-E9BD879DBC4B}">
      <dgm:prSet phldrT="[Text]" custT="1"/>
      <dgm:spPr/>
      <dgm:t>
        <a:bodyPr/>
        <a:lstStyle/>
        <a:p>
          <a:r>
            <a:rPr lang="en-US" sz="1200" dirty="0"/>
            <a:t>Code Coverage Check from IDE – Target 90-95%</a:t>
          </a:r>
        </a:p>
      </dgm:t>
    </dgm:pt>
    <dgm:pt modelId="{AA54B131-D761-4EFC-BEED-991F5B25653A}" type="parTrans" cxnId="{3F922E07-1E02-4533-8FBE-28C61312CA9A}">
      <dgm:prSet/>
      <dgm:spPr/>
      <dgm:t>
        <a:bodyPr/>
        <a:lstStyle/>
        <a:p>
          <a:endParaRPr lang="en-US" sz="2800"/>
        </a:p>
      </dgm:t>
    </dgm:pt>
    <dgm:pt modelId="{3BB7E160-4F30-4821-91A8-0BF91293B2DC}" type="sibTrans" cxnId="{3F922E07-1E02-4533-8FBE-28C61312CA9A}">
      <dgm:prSet/>
      <dgm:spPr/>
      <dgm:t>
        <a:bodyPr/>
        <a:lstStyle/>
        <a:p>
          <a:endParaRPr lang="en-US" sz="2800"/>
        </a:p>
      </dgm:t>
    </dgm:pt>
    <dgm:pt modelId="{F39B1A52-0EA5-4B00-B9B1-BB1F47566723}">
      <dgm:prSet phldrT="[Text]" custT="1"/>
      <dgm:spPr/>
      <dgm:t>
        <a:bodyPr/>
        <a:lstStyle/>
        <a:p>
          <a:r>
            <a:rPr lang="en-US" sz="1200" dirty="0"/>
            <a:t>Jenkins CI- Additional check with </a:t>
          </a:r>
          <a:r>
            <a:rPr lang="en-US" sz="1200" dirty="0" err="1"/>
            <a:t>Coverity</a:t>
          </a:r>
          <a:r>
            <a:rPr lang="en-US" sz="1200" dirty="0"/>
            <a:t> &amp; Black Duck </a:t>
          </a:r>
          <a:r>
            <a:rPr lang="en-US" sz="1200" dirty="0" err="1"/>
            <a:t>Opensource</a:t>
          </a:r>
          <a:r>
            <a:rPr lang="en-US" sz="1200" dirty="0"/>
            <a:t> Scan</a:t>
          </a:r>
        </a:p>
      </dgm:t>
    </dgm:pt>
    <dgm:pt modelId="{9C5D295C-E019-4D0C-9994-2905BADDF995}" type="parTrans" cxnId="{4AD1EC35-5C2A-461D-A705-16A2AC835F9A}">
      <dgm:prSet/>
      <dgm:spPr/>
      <dgm:t>
        <a:bodyPr/>
        <a:lstStyle/>
        <a:p>
          <a:endParaRPr lang="en-US" sz="2800"/>
        </a:p>
      </dgm:t>
    </dgm:pt>
    <dgm:pt modelId="{9974296F-9E71-4D9E-9C6F-9EFD8D9D86D2}" type="sibTrans" cxnId="{4AD1EC35-5C2A-461D-A705-16A2AC835F9A}">
      <dgm:prSet/>
      <dgm:spPr/>
      <dgm:t>
        <a:bodyPr/>
        <a:lstStyle/>
        <a:p>
          <a:endParaRPr lang="en-US" sz="2800"/>
        </a:p>
      </dgm:t>
    </dgm:pt>
    <dgm:pt modelId="{B19A770F-98BC-44DA-A696-EFBE9E1E51E8}">
      <dgm:prSet phldrT="[Text]" custT="1"/>
      <dgm:spPr/>
      <dgm:t>
        <a:bodyPr/>
        <a:lstStyle/>
        <a:p>
          <a:r>
            <a:rPr lang="en-US" sz="1200" dirty="0"/>
            <a:t>Jenkins – Deploy  (By Developer)</a:t>
          </a:r>
        </a:p>
      </dgm:t>
    </dgm:pt>
    <dgm:pt modelId="{F19CE335-EA62-4A7D-999D-C93662F53F09}" type="parTrans" cxnId="{6C5E8338-C1D1-4DBB-A091-8E460624A335}">
      <dgm:prSet/>
      <dgm:spPr/>
      <dgm:t>
        <a:bodyPr/>
        <a:lstStyle/>
        <a:p>
          <a:endParaRPr lang="en-US" sz="2800"/>
        </a:p>
      </dgm:t>
    </dgm:pt>
    <dgm:pt modelId="{498C232E-2515-4515-B4ED-1EC610DB1F25}" type="sibTrans" cxnId="{6C5E8338-C1D1-4DBB-A091-8E460624A335}">
      <dgm:prSet/>
      <dgm:spPr/>
      <dgm:t>
        <a:bodyPr/>
        <a:lstStyle/>
        <a:p>
          <a:endParaRPr lang="en-US" sz="3200"/>
        </a:p>
      </dgm:t>
    </dgm:pt>
    <dgm:pt modelId="{B9D34585-BA41-42EF-ACC1-9D73A510D333}">
      <dgm:prSet phldrT="[Text]" custT="1"/>
      <dgm:spPr/>
      <dgm:t>
        <a:bodyPr/>
        <a:lstStyle/>
        <a:p>
          <a:r>
            <a:rPr lang="en-US" sz="1200" dirty="0"/>
            <a:t>Jenkins – Deploy (By Dev Ops)</a:t>
          </a:r>
        </a:p>
      </dgm:t>
    </dgm:pt>
    <dgm:pt modelId="{045E3CEA-A312-4841-AEBD-BE38CB009FA0}" type="parTrans" cxnId="{14F6A318-46BC-4505-B57D-6E05362AD421}">
      <dgm:prSet/>
      <dgm:spPr/>
      <dgm:t>
        <a:bodyPr/>
        <a:lstStyle/>
        <a:p>
          <a:endParaRPr lang="en-US" sz="2800"/>
        </a:p>
      </dgm:t>
    </dgm:pt>
    <dgm:pt modelId="{DA6673B7-CDEF-4CDB-B124-E5B7C305A0A5}" type="sibTrans" cxnId="{14F6A318-46BC-4505-B57D-6E05362AD421}">
      <dgm:prSet/>
      <dgm:spPr/>
      <dgm:t>
        <a:bodyPr/>
        <a:lstStyle/>
        <a:p>
          <a:endParaRPr lang="en-US" sz="2800"/>
        </a:p>
      </dgm:t>
    </dgm:pt>
    <dgm:pt modelId="{E0A9B9D1-C735-45D6-AC6C-1FEEBF06DD91}" type="pres">
      <dgm:prSet presAssocID="{ACF2DCCA-02FE-4B38-A352-E359D488DEA4}" presName="cycle" presStyleCnt="0">
        <dgm:presLayoutVars>
          <dgm:dir/>
          <dgm:resizeHandles val="exact"/>
        </dgm:presLayoutVars>
      </dgm:prSet>
      <dgm:spPr/>
    </dgm:pt>
    <dgm:pt modelId="{D260F4C8-7CD1-434D-9E16-F86C84B26534}" type="pres">
      <dgm:prSet presAssocID="{5174D547-575E-4CA3-89BB-EE7C35DF09A6}" presName="dummy" presStyleCnt="0"/>
      <dgm:spPr/>
    </dgm:pt>
    <dgm:pt modelId="{D8DAF2EF-F9ED-4062-856F-F1099E198B3F}" type="pres">
      <dgm:prSet presAssocID="{5174D547-575E-4CA3-89BB-EE7C35DF09A6}" presName="node" presStyleLbl="revTx" presStyleIdx="0" presStyleCnt="8">
        <dgm:presLayoutVars>
          <dgm:bulletEnabled val="1"/>
        </dgm:presLayoutVars>
      </dgm:prSet>
      <dgm:spPr/>
    </dgm:pt>
    <dgm:pt modelId="{39664B46-192F-4BCD-A87E-C0CE3235E4B2}" type="pres">
      <dgm:prSet presAssocID="{89E2230A-6463-4865-BF68-648D026DE378}" presName="sibTrans" presStyleLbl="node1" presStyleIdx="0" presStyleCnt="8"/>
      <dgm:spPr/>
    </dgm:pt>
    <dgm:pt modelId="{D818D1BD-F8B5-4CF7-91E3-5D97CC3B658E}" type="pres">
      <dgm:prSet presAssocID="{96615FD9-77EB-4F9D-99DC-6338B5BA2041}" presName="dummy" presStyleCnt="0"/>
      <dgm:spPr/>
    </dgm:pt>
    <dgm:pt modelId="{70A9F766-6420-4637-8E68-928451AAE235}" type="pres">
      <dgm:prSet presAssocID="{96615FD9-77EB-4F9D-99DC-6338B5BA2041}" presName="node" presStyleLbl="revTx" presStyleIdx="1" presStyleCnt="8">
        <dgm:presLayoutVars>
          <dgm:bulletEnabled val="1"/>
        </dgm:presLayoutVars>
      </dgm:prSet>
      <dgm:spPr/>
    </dgm:pt>
    <dgm:pt modelId="{12B27996-C7A8-4ED3-BE9B-20DCA30D7155}" type="pres">
      <dgm:prSet presAssocID="{501C0534-35AB-4ADC-812D-C79C6D400EEC}" presName="sibTrans" presStyleLbl="node1" presStyleIdx="1" presStyleCnt="8"/>
      <dgm:spPr/>
    </dgm:pt>
    <dgm:pt modelId="{1513CDE6-EE49-4153-8134-231B087D88DA}" type="pres">
      <dgm:prSet presAssocID="{8B6960F5-ABCC-409C-A4B8-E9BD879DBC4B}" presName="dummy" presStyleCnt="0"/>
      <dgm:spPr/>
    </dgm:pt>
    <dgm:pt modelId="{4DD734DD-871C-44EF-9612-9D22D5B1ED4D}" type="pres">
      <dgm:prSet presAssocID="{8B6960F5-ABCC-409C-A4B8-E9BD879DBC4B}" presName="node" presStyleLbl="revTx" presStyleIdx="2" presStyleCnt="8">
        <dgm:presLayoutVars>
          <dgm:bulletEnabled val="1"/>
        </dgm:presLayoutVars>
      </dgm:prSet>
      <dgm:spPr/>
    </dgm:pt>
    <dgm:pt modelId="{79B8D80B-82FA-468D-8754-A8B85E348D2D}" type="pres">
      <dgm:prSet presAssocID="{3BB7E160-4F30-4821-91A8-0BF91293B2DC}" presName="sibTrans" presStyleLbl="node1" presStyleIdx="2" presStyleCnt="8"/>
      <dgm:spPr/>
    </dgm:pt>
    <dgm:pt modelId="{E81DD36C-5B42-4583-A23D-1579C2B9492F}" type="pres">
      <dgm:prSet presAssocID="{51370462-91D6-4A14-8452-DF7E1FD31707}" presName="dummy" presStyleCnt="0"/>
      <dgm:spPr/>
    </dgm:pt>
    <dgm:pt modelId="{D21413E3-B781-4A7F-8705-ED617ABD0ADE}" type="pres">
      <dgm:prSet presAssocID="{51370462-91D6-4A14-8452-DF7E1FD31707}" presName="node" presStyleLbl="revTx" presStyleIdx="3" presStyleCnt="8">
        <dgm:presLayoutVars>
          <dgm:bulletEnabled val="1"/>
        </dgm:presLayoutVars>
      </dgm:prSet>
      <dgm:spPr/>
    </dgm:pt>
    <dgm:pt modelId="{0D695A61-7583-46A4-B935-5936E274923C}" type="pres">
      <dgm:prSet presAssocID="{7F63E38C-6D95-4657-8ABA-48418AFB5EF1}" presName="sibTrans" presStyleLbl="node1" presStyleIdx="3" presStyleCnt="8"/>
      <dgm:spPr/>
    </dgm:pt>
    <dgm:pt modelId="{5874B4B9-C780-41EC-A2FF-57598602DFF2}" type="pres">
      <dgm:prSet presAssocID="{F39B1A52-0EA5-4B00-B9B1-BB1F47566723}" presName="dummy" presStyleCnt="0"/>
      <dgm:spPr/>
    </dgm:pt>
    <dgm:pt modelId="{37C70EFF-DCE9-4C6C-B65C-19A00787BCD3}" type="pres">
      <dgm:prSet presAssocID="{F39B1A52-0EA5-4B00-B9B1-BB1F47566723}" presName="node" presStyleLbl="revTx" presStyleIdx="4" presStyleCnt="8">
        <dgm:presLayoutVars>
          <dgm:bulletEnabled val="1"/>
        </dgm:presLayoutVars>
      </dgm:prSet>
      <dgm:spPr/>
    </dgm:pt>
    <dgm:pt modelId="{2AEB5A8B-1576-4861-BE7F-E401AE4A28BE}" type="pres">
      <dgm:prSet presAssocID="{9974296F-9E71-4D9E-9C6F-9EFD8D9D86D2}" presName="sibTrans" presStyleLbl="node1" presStyleIdx="4" presStyleCnt="8"/>
      <dgm:spPr/>
    </dgm:pt>
    <dgm:pt modelId="{645DBF89-259B-4AA3-A3DB-DAD4A0C3D263}" type="pres">
      <dgm:prSet presAssocID="{468FFBD8-F4BD-4AF5-B65B-1D7F199AEB49}" presName="dummy" presStyleCnt="0"/>
      <dgm:spPr/>
    </dgm:pt>
    <dgm:pt modelId="{AB8D9198-B17C-450E-B167-4CDF496D3B93}" type="pres">
      <dgm:prSet presAssocID="{468FFBD8-F4BD-4AF5-B65B-1D7F199AEB49}" presName="node" presStyleLbl="revTx" presStyleIdx="5" presStyleCnt="8">
        <dgm:presLayoutVars>
          <dgm:bulletEnabled val="1"/>
        </dgm:presLayoutVars>
      </dgm:prSet>
      <dgm:spPr/>
    </dgm:pt>
    <dgm:pt modelId="{786C62F9-9672-4779-839E-8F7AAB6449E6}" type="pres">
      <dgm:prSet presAssocID="{D3FBF746-CB0B-4C13-827D-2FEA0893BD9C}" presName="sibTrans" presStyleLbl="node1" presStyleIdx="5" presStyleCnt="8"/>
      <dgm:spPr/>
    </dgm:pt>
    <dgm:pt modelId="{CC7FF188-69FC-47A7-9344-3B9BE804B3A2}" type="pres">
      <dgm:prSet presAssocID="{B19A770F-98BC-44DA-A696-EFBE9E1E51E8}" presName="dummy" presStyleCnt="0"/>
      <dgm:spPr/>
    </dgm:pt>
    <dgm:pt modelId="{80F2CA3E-A214-455C-A7AA-C101644CE17D}" type="pres">
      <dgm:prSet presAssocID="{B19A770F-98BC-44DA-A696-EFBE9E1E51E8}" presName="node" presStyleLbl="revTx" presStyleIdx="6" presStyleCnt="8">
        <dgm:presLayoutVars>
          <dgm:bulletEnabled val="1"/>
        </dgm:presLayoutVars>
      </dgm:prSet>
      <dgm:spPr/>
    </dgm:pt>
    <dgm:pt modelId="{9928ABA6-C7A6-48DD-84B5-335134C3BCFC}" type="pres">
      <dgm:prSet presAssocID="{498C232E-2515-4515-B4ED-1EC610DB1F25}" presName="sibTrans" presStyleLbl="node1" presStyleIdx="6" presStyleCnt="8"/>
      <dgm:spPr/>
    </dgm:pt>
    <dgm:pt modelId="{3E63AE91-1420-4E03-AEA5-06F8AD51F0F2}" type="pres">
      <dgm:prSet presAssocID="{B9D34585-BA41-42EF-ACC1-9D73A510D333}" presName="dummy" presStyleCnt="0"/>
      <dgm:spPr/>
    </dgm:pt>
    <dgm:pt modelId="{CE226930-F8B8-45EC-B406-855790FCE004}" type="pres">
      <dgm:prSet presAssocID="{B9D34585-BA41-42EF-ACC1-9D73A510D333}" presName="node" presStyleLbl="revTx" presStyleIdx="7" presStyleCnt="8">
        <dgm:presLayoutVars>
          <dgm:bulletEnabled val="1"/>
        </dgm:presLayoutVars>
      </dgm:prSet>
      <dgm:spPr/>
    </dgm:pt>
    <dgm:pt modelId="{CED64963-3587-4DC5-A7A3-D81FBCC725E8}" type="pres">
      <dgm:prSet presAssocID="{DA6673B7-CDEF-4CDB-B124-E5B7C305A0A5}" presName="sibTrans" presStyleLbl="node1" presStyleIdx="7" presStyleCnt="8"/>
      <dgm:spPr/>
    </dgm:pt>
  </dgm:ptLst>
  <dgm:cxnLst>
    <dgm:cxn modelId="{9FA76500-89E6-4458-BEE2-E8708029D2B4}" type="presOf" srcId="{51370462-91D6-4A14-8452-DF7E1FD31707}" destId="{D21413E3-B781-4A7F-8705-ED617ABD0ADE}" srcOrd="0" destOrd="0" presId="urn:microsoft.com/office/officeart/2005/8/layout/cycle1"/>
    <dgm:cxn modelId="{6F66AD05-53A4-4815-89BB-9625B4028517}" type="presOf" srcId="{89E2230A-6463-4865-BF68-648D026DE378}" destId="{39664B46-192F-4BCD-A87E-C0CE3235E4B2}" srcOrd="0" destOrd="0" presId="urn:microsoft.com/office/officeart/2005/8/layout/cycle1"/>
    <dgm:cxn modelId="{3F922E07-1E02-4533-8FBE-28C61312CA9A}" srcId="{ACF2DCCA-02FE-4B38-A352-E359D488DEA4}" destId="{8B6960F5-ABCC-409C-A4B8-E9BD879DBC4B}" srcOrd="2" destOrd="0" parTransId="{AA54B131-D761-4EFC-BEED-991F5B25653A}" sibTransId="{3BB7E160-4F30-4821-91A8-0BF91293B2DC}"/>
    <dgm:cxn modelId="{1EE7B70A-FDB6-4EC1-919D-16FE0DF8A9A0}" type="presOf" srcId="{5174D547-575E-4CA3-89BB-EE7C35DF09A6}" destId="{D8DAF2EF-F9ED-4062-856F-F1099E198B3F}" srcOrd="0" destOrd="0" presId="urn:microsoft.com/office/officeart/2005/8/layout/cycle1"/>
    <dgm:cxn modelId="{1777100B-C34E-4DE5-8ADF-0FD4E08B7796}" type="presOf" srcId="{7F63E38C-6D95-4657-8ABA-48418AFB5EF1}" destId="{0D695A61-7583-46A4-B935-5936E274923C}" srcOrd="0" destOrd="0" presId="urn:microsoft.com/office/officeart/2005/8/layout/cycle1"/>
    <dgm:cxn modelId="{14F6A318-46BC-4505-B57D-6E05362AD421}" srcId="{ACF2DCCA-02FE-4B38-A352-E359D488DEA4}" destId="{B9D34585-BA41-42EF-ACC1-9D73A510D333}" srcOrd="7" destOrd="0" parTransId="{045E3CEA-A312-4841-AEBD-BE38CB009FA0}" sibTransId="{DA6673B7-CDEF-4CDB-B124-E5B7C305A0A5}"/>
    <dgm:cxn modelId="{004F3C22-4879-4D71-B4D5-AEF7EEB345AD}" type="presOf" srcId="{501C0534-35AB-4ADC-812D-C79C6D400EEC}" destId="{12B27996-C7A8-4ED3-BE9B-20DCA30D7155}" srcOrd="0" destOrd="0" presId="urn:microsoft.com/office/officeart/2005/8/layout/cycle1"/>
    <dgm:cxn modelId="{BFC48922-C2DC-4C4E-8948-050E538F30F4}" type="presOf" srcId="{9974296F-9E71-4D9E-9C6F-9EFD8D9D86D2}" destId="{2AEB5A8B-1576-4861-BE7F-E401AE4A28BE}" srcOrd="0" destOrd="0" presId="urn:microsoft.com/office/officeart/2005/8/layout/cycle1"/>
    <dgm:cxn modelId="{11885526-80AC-4F73-BAA5-9C3CD16E0AE9}" type="presOf" srcId="{498C232E-2515-4515-B4ED-1EC610DB1F25}" destId="{9928ABA6-C7A6-48DD-84B5-335134C3BCFC}" srcOrd="0" destOrd="0" presId="urn:microsoft.com/office/officeart/2005/8/layout/cycle1"/>
    <dgm:cxn modelId="{9ECF1D31-883A-4B9F-9984-FB8ECE7C5ECC}" type="presOf" srcId="{ACF2DCCA-02FE-4B38-A352-E359D488DEA4}" destId="{E0A9B9D1-C735-45D6-AC6C-1FEEBF06DD91}" srcOrd="0" destOrd="0" presId="urn:microsoft.com/office/officeart/2005/8/layout/cycle1"/>
    <dgm:cxn modelId="{4AD1EC35-5C2A-461D-A705-16A2AC835F9A}" srcId="{ACF2DCCA-02FE-4B38-A352-E359D488DEA4}" destId="{F39B1A52-0EA5-4B00-B9B1-BB1F47566723}" srcOrd="4" destOrd="0" parTransId="{9C5D295C-E019-4D0C-9994-2905BADDF995}" sibTransId="{9974296F-9E71-4D9E-9C6F-9EFD8D9D86D2}"/>
    <dgm:cxn modelId="{6C5E8338-C1D1-4DBB-A091-8E460624A335}" srcId="{ACF2DCCA-02FE-4B38-A352-E359D488DEA4}" destId="{B19A770F-98BC-44DA-A696-EFBE9E1E51E8}" srcOrd="6" destOrd="0" parTransId="{F19CE335-EA62-4A7D-999D-C93662F53F09}" sibTransId="{498C232E-2515-4515-B4ED-1EC610DB1F25}"/>
    <dgm:cxn modelId="{2742953B-4EAE-4478-B173-A3C332931EA5}" type="presOf" srcId="{D3FBF746-CB0B-4C13-827D-2FEA0893BD9C}" destId="{786C62F9-9672-4779-839E-8F7AAB6449E6}" srcOrd="0" destOrd="0" presId="urn:microsoft.com/office/officeart/2005/8/layout/cycle1"/>
    <dgm:cxn modelId="{28BB1B3E-7353-4C15-8DE1-2A62500F997B}" type="presOf" srcId="{3BB7E160-4F30-4821-91A8-0BF91293B2DC}" destId="{79B8D80B-82FA-468D-8754-A8B85E348D2D}" srcOrd="0" destOrd="0" presId="urn:microsoft.com/office/officeart/2005/8/layout/cycle1"/>
    <dgm:cxn modelId="{FDAB3B4B-47DD-43F0-9613-FFC00DBF2DEF}" type="presOf" srcId="{B19A770F-98BC-44DA-A696-EFBE9E1E51E8}" destId="{80F2CA3E-A214-455C-A7AA-C101644CE17D}" srcOrd="0" destOrd="0" presId="urn:microsoft.com/office/officeart/2005/8/layout/cycle1"/>
    <dgm:cxn modelId="{0AF66D77-3155-4E6B-AE27-B6A8FFD67861}" srcId="{ACF2DCCA-02FE-4B38-A352-E359D488DEA4}" destId="{96615FD9-77EB-4F9D-99DC-6338B5BA2041}" srcOrd="1" destOrd="0" parTransId="{8CC42373-CB8B-4F95-85F6-37B37B24A443}" sibTransId="{501C0534-35AB-4ADC-812D-C79C6D400EEC}"/>
    <dgm:cxn modelId="{71DB3A82-5138-4DD1-AB66-74D658D283D8}" type="presOf" srcId="{F39B1A52-0EA5-4B00-B9B1-BB1F47566723}" destId="{37C70EFF-DCE9-4C6C-B65C-19A00787BCD3}" srcOrd="0" destOrd="0" presId="urn:microsoft.com/office/officeart/2005/8/layout/cycle1"/>
    <dgm:cxn modelId="{59F69494-6C0F-4230-B94A-A0446E6B9DDA}" type="presOf" srcId="{96615FD9-77EB-4F9D-99DC-6338B5BA2041}" destId="{70A9F766-6420-4637-8E68-928451AAE235}" srcOrd="0" destOrd="0" presId="urn:microsoft.com/office/officeart/2005/8/layout/cycle1"/>
    <dgm:cxn modelId="{B84B54A0-7466-4FE4-9DBF-4702C5C00EC9}" type="presOf" srcId="{468FFBD8-F4BD-4AF5-B65B-1D7F199AEB49}" destId="{AB8D9198-B17C-450E-B167-4CDF496D3B93}" srcOrd="0" destOrd="0" presId="urn:microsoft.com/office/officeart/2005/8/layout/cycle1"/>
    <dgm:cxn modelId="{406FF2A2-58B5-43BB-A184-342DCB51EA99}" type="presOf" srcId="{B9D34585-BA41-42EF-ACC1-9D73A510D333}" destId="{CE226930-F8B8-45EC-B406-855790FCE004}" srcOrd="0" destOrd="0" presId="urn:microsoft.com/office/officeart/2005/8/layout/cycle1"/>
    <dgm:cxn modelId="{0CFE07A9-B831-44CE-A7AD-981222C943E6}" srcId="{ACF2DCCA-02FE-4B38-A352-E359D488DEA4}" destId="{51370462-91D6-4A14-8452-DF7E1FD31707}" srcOrd="3" destOrd="0" parTransId="{83F98837-662D-446D-A8A6-23C6F04E8DE9}" sibTransId="{7F63E38C-6D95-4657-8ABA-48418AFB5EF1}"/>
    <dgm:cxn modelId="{93A980AB-C265-44E4-81DD-3E134F76C986}" type="presOf" srcId="{8B6960F5-ABCC-409C-A4B8-E9BD879DBC4B}" destId="{4DD734DD-871C-44EF-9612-9D22D5B1ED4D}" srcOrd="0" destOrd="0" presId="urn:microsoft.com/office/officeart/2005/8/layout/cycle1"/>
    <dgm:cxn modelId="{E7B598D6-B0CC-43F8-B545-7A1063049879}" type="presOf" srcId="{DA6673B7-CDEF-4CDB-B124-E5B7C305A0A5}" destId="{CED64963-3587-4DC5-A7A3-D81FBCC725E8}" srcOrd="0" destOrd="0" presId="urn:microsoft.com/office/officeart/2005/8/layout/cycle1"/>
    <dgm:cxn modelId="{CEDD17F1-33CB-415C-B271-DE04012D882D}" srcId="{ACF2DCCA-02FE-4B38-A352-E359D488DEA4}" destId="{5174D547-575E-4CA3-89BB-EE7C35DF09A6}" srcOrd="0" destOrd="0" parTransId="{EEC30761-5114-4CBF-8F81-AAD74CF5258A}" sibTransId="{89E2230A-6463-4865-BF68-648D026DE378}"/>
    <dgm:cxn modelId="{60114AF4-17AC-4CF9-898B-CE040A035D97}" srcId="{ACF2DCCA-02FE-4B38-A352-E359D488DEA4}" destId="{468FFBD8-F4BD-4AF5-B65B-1D7F199AEB49}" srcOrd="5" destOrd="0" parTransId="{D6DB1827-AABD-40A0-9961-8606F83071E3}" sibTransId="{D3FBF746-CB0B-4C13-827D-2FEA0893BD9C}"/>
    <dgm:cxn modelId="{75404813-A301-4D94-BB9F-361B2896AAE8}" type="presParOf" srcId="{E0A9B9D1-C735-45D6-AC6C-1FEEBF06DD91}" destId="{D260F4C8-7CD1-434D-9E16-F86C84B26534}" srcOrd="0" destOrd="0" presId="urn:microsoft.com/office/officeart/2005/8/layout/cycle1"/>
    <dgm:cxn modelId="{B282228E-10C8-48CC-BCE4-DC055B911813}" type="presParOf" srcId="{E0A9B9D1-C735-45D6-AC6C-1FEEBF06DD91}" destId="{D8DAF2EF-F9ED-4062-856F-F1099E198B3F}" srcOrd="1" destOrd="0" presId="urn:microsoft.com/office/officeart/2005/8/layout/cycle1"/>
    <dgm:cxn modelId="{493E1046-7816-4B1F-9227-ECB506ECC4D2}" type="presParOf" srcId="{E0A9B9D1-C735-45D6-AC6C-1FEEBF06DD91}" destId="{39664B46-192F-4BCD-A87E-C0CE3235E4B2}" srcOrd="2" destOrd="0" presId="urn:microsoft.com/office/officeart/2005/8/layout/cycle1"/>
    <dgm:cxn modelId="{056E67D7-22A3-4C12-ABE9-2F44E2B0E16D}" type="presParOf" srcId="{E0A9B9D1-C735-45D6-AC6C-1FEEBF06DD91}" destId="{D818D1BD-F8B5-4CF7-91E3-5D97CC3B658E}" srcOrd="3" destOrd="0" presId="urn:microsoft.com/office/officeart/2005/8/layout/cycle1"/>
    <dgm:cxn modelId="{719C664F-7161-433B-996C-F7CBB20E12C6}" type="presParOf" srcId="{E0A9B9D1-C735-45D6-AC6C-1FEEBF06DD91}" destId="{70A9F766-6420-4637-8E68-928451AAE235}" srcOrd="4" destOrd="0" presId="urn:microsoft.com/office/officeart/2005/8/layout/cycle1"/>
    <dgm:cxn modelId="{041B47AB-F384-470C-B65C-7B4C7FE166AB}" type="presParOf" srcId="{E0A9B9D1-C735-45D6-AC6C-1FEEBF06DD91}" destId="{12B27996-C7A8-4ED3-BE9B-20DCA30D7155}" srcOrd="5" destOrd="0" presId="urn:microsoft.com/office/officeart/2005/8/layout/cycle1"/>
    <dgm:cxn modelId="{12654BCF-4849-464A-A815-18D2F4ABEBB1}" type="presParOf" srcId="{E0A9B9D1-C735-45D6-AC6C-1FEEBF06DD91}" destId="{1513CDE6-EE49-4153-8134-231B087D88DA}" srcOrd="6" destOrd="0" presId="urn:microsoft.com/office/officeart/2005/8/layout/cycle1"/>
    <dgm:cxn modelId="{302CE172-AAFE-4861-83C6-C4385E5AF13C}" type="presParOf" srcId="{E0A9B9D1-C735-45D6-AC6C-1FEEBF06DD91}" destId="{4DD734DD-871C-44EF-9612-9D22D5B1ED4D}" srcOrd="7" destOrd="0" presId="urn:microsoft.com/office/officeart/2005/8/layout/cycle1"/>
    <dgm:cxn modelId="{8ACBF7C5-F3C1-453C-ACC1-05BBFEB216A9}" type="presParOf" srcId="{E0A9B9D1-C735-45D6-AC6C-1FEEBF06DD91}" destId="{79B8D80B-82FA-468D-8754-A8B85E348D2D}" srcOrd="8" destOrd="0" presId="urn:microsoft.com/office/officeart/2005/8/layout/cycle1"/>
    <dgm:cxn modelId="{1AC59AC1-0F28-4369-9FDF-FA9F6F2035D2}" type="presParOf" srcId="{E0A9B9D1-C735-45D6-AC6C-1FEEBF06DD91}" destId="{E81DD36C-5B42-4583-A23D-1579C2B9492F}" srcOrd="9" destOrd="0" presId="urn:microsoft.com/office/officeart/2005/8/layout/cycle1"/>
    <dgm:cxn modelId="{7C1394FF-6AAD-4A32-B3B7-06147B810BBE}" type="presParOf" srcId="{E0A9B9D1-C735-45D6-AC6C-1FEEBF06DD91}" destId="{D21413E3-B781-4A7F-8705-ED617ABD0ADE}" srcOrd="10" destOrd="0" presId="urn:microsoft.com/office/officeart/2005/8/layout/cycle1"/>
    <dgm:cxn modelId="{1E41BBDD-D612-48C2-869D-ACF7190A42B8}" type="presParOf" srcId="{E0A9B9D1-C735-45D6-AC6C-1FEEBF06DD91}" destId="{0D695A61-7583-46A4-B935-5936E274923C}" srcOrd="11" destOrd="0" presId="urn:microsoft.com/office/officeart/2005/8/layout/cycle1"/>
    <dgm:cxn modelId="{79EAB5DC-7409-4D97-AC71-9126A53A2B77}" type="presParOf" srcId="{E0A9B9D1-C735-45D6-AC6C-1FEEBF06DD91}" destId="{5874B4B9-C780-41EC-A2FF-57598602DFF2}" srcOrd="12" destOrd="0" presId="urn:microsoft.com/office/officeart/2005/8/layout/cycle1"/>
    <dgm:cxn modelId="{5A719A64-5982-4FBE-99E8-DC78A0467376}" type="presParOf" srcId="{E0A9B9D1-C735-45D6-AC6C-1FEEBF06DD91}" destId="{37C70EFF-DCE9-4C6C-B65C-19A00787BCD3}" srcOrd="13" destOrd="0" presId="urn:microsoft.com/office/officeart/2005/8/layout/cycle1"/>
    <dgm:cxn modelId="{444C36E8-EA02-4606-AA05-87D2893C4395}" type="presParOf" srcId="{E0A9B9D1-C735-45D6-AC6C-1FEEBF06DD91}" destId="{2AEB5A8B-1576-4861-BE7F-E401AE4A28BE}" srcOrd="14" destOrd="0" presId="urn:microsoft.com/office/officeart/2005/8/layout/cycle1"/>
    <dgm:cxn modelId="{7829396B-D87F-4C2B-903E-0D577C87E74A}" type="presParOf" srcId="{E0A9B9D1-C735-45D6-AC6C-1FEEBF06DD91}" destId="{645DBF89-259B-4AA3-A3DB-DAD4A0C3D263}" srcOrd="15" destOrd="0" presId="urn:microsoft.com/office/officeart/2005/8/layout/cycle1"/>
    <dgm:cxn modelId="{6EECE7DD-0B08-4609-94E5-C2EB82C007D3}" type="presParOf" srcId="{E0A9B9D1-C735-45D6-AC6C-1FEEBF06DD91}" destId="{AB8D9198-B17C-450E-B167-4CDF496D3B93}" srcOrd="16" destOrd="0" presId="urn:microsoft.com/office/officeart/2005/8/layout/cycle1"/>
    <dgm:cxn modelId="{3355D719-FF2E-4BC6-96D7-76E19D2B78D5}" type="presParOf" srcId="{E0A9B9D1-C735-45D6-AC6C-1FEEBF06DD91}" destId="{786C62F9-9672-4779-839E-8F7AAB6449E6}" srcOrd="17" destOrd="0" presId="urn:microsoft.com/office/officeart/2005/8/layout/cycle1"/>
    <dgm:cxn modelId="{E95F222A-2294-4C11-9238-F31E48CF0461}" type="presParOf" srcId="{E0A9B9D1-C735-45D6-AC6C-1FEEBF06DD91}" destId="{CC7FF188-69FC-47A7-9344-3B9BE804B3A2}" srcOrd="18" destOrd="0" presId="urn:microsoft.com/office/officeart/2005/8/layout/cycle1"/>
    <dgm:cxn modelId="{6492DB39-DB8C-440F-BF87-BC915D21F9E7}" type="presParOf" srcId="{E0A9B9D1-C735-45D6-AC6C-1FEEBF06DD91}" destId="{80F2CA3E-A214-455C-A7AA-C101644CE17D}" srcOrd="19" destOrd="0" presId="urn:microsoft.com/office/officeart/2005/8/layout/cycle1"/>
    <dgm:cxn modelId="{59CA33E7-EBCA-451D-8679-E05B3C809145}" type="presParOf" srcId="{E0A9B9D1-C735-45D6-AC6C-1FEEBF06DD91}" destId="{9928ABA6-C7A6-48DD-84B5-335134C3BCFC}" srcOrd="20" destOrd="0" presId="urn:microsoft.com/office/officeart/2005/8/layout/cycle1"/>
    <dgm:cxn modelId="{B9DD85B5-136A-410E-A0B0-566714E6E0E8}" type="presParOf" srcId="{E0A9B9D1-C735-45D6-AC6C-1FEEBF06DD91}" destId="{3E63AE91-1420-4E03-AEA5-06F8AD51F0F2}" srcOrd="21" destOrd="0" presId="urn:microsoft.com/office/officeart/2005/8/layout/cycle1"/>
    <dgm:cxn modelId="{5230A18D-72E7-4D66-9A84-D920A98EFEF3}" type="presParOf" srcId="{E0A9B9D1-C735-45D6-AC6C-1FEEBF06DD91}" destId="{CE226930-F8B8-45EC-B406-855790FCE004}" srcOrd="22" destOrd="0" presId="urn:microsoft.com/office/officeart/2005/8/layout/cycle1"/>
    <dgm:cxn modelId="{74C697DD-26ED-42D1-A17D-93A2FFD2416C}" type="presParOf" srcId="{E0A9B9D1-C735-45D6-AC6C-1FEEBF06DD91}" destId="{CED64963-3587-4DC5-A7A3-D81FBCC725E8}" srcOrd="23" destOrd="0" presId="urn:microsoft.com/office/officeart/2005/8/layout/cycle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CF2DCCA-02FE-4B38-A352-E359D488DEA4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74D547-575E-4CA3-89BB-EE7C35DF09A6}">
      <dgm:prSet phldrT="[Text]" custT="1"/>
      <dgm:spPr/>
      <dgm:t>
        <a:bodyPr/>
        <a:lstStyle/>
        <a:p>
          <a:r>
            <a:rPr lang="en-US" sz="1200" dirty="0"/>
            <a:t>Code development – in IDE</a:t>
          </a:r>
        </a:p>
      </dgm:t>
    </dgm:pt>
    <dgm:pt modelId="{EEC30761-5114-4CBF-8F81-AAD74CF5258A}" type="parTrans" cxnId="{CEDD17F1-33CB-415C-B271-DE04012D882D}">
      <dgm:prSet/>
      <dgm:spPr/>
      <dgm:t>
        <a:bodyPr/>
        <a:lstStyle/>
        <a:p>
          <a:endParaRPr lang="en-US" sz="2800"/>
        </a:p>
      </dgm:t>
    </dgm:pt>
    <dgm:pt modelId="{89E2230A-6463-4865-BF68-648D026DE378}" type="sibTrans" cxnId="{CEDD17F1-33CB-415C-B271-DE04012D882D}">
      <dgm:prSet/>
      <dgm:spPr/>
      <dgm:t>
        <a:bodyPr/>
        <a:lstStyle/>
        <a:p>
          <a:endParaRPr lang="en-US" sz="2800"/>
        </a:p>
      </dgm:t>
    </dgm:pt>
    <dgm:pt modelId="{51370462-91D6-4A14-8452-DF7E1FD31707}">
      <dgm:prSet phldrT="[Text]" custT="1"/>
      <dgm:spPr/>
      <dgm:t>
        <a:bodyPr/>
        <a:lstStyle/>
        <a:p>
          <a:r>
            <a:rPr lang="en-US" sz="1200" dirty="0"/>
            <a:t>SVN </a:t>
          </a:r>
          <a:r>
            <a:rPr lang="en-US" sz="1200" dirty="0" err="1"/>
            <a:t>Checkin</a:t>
          </a:r>
          <a:endParaRPr lang="en-US" sz="1200" dirty="0"/>
        </a:p>
      </dgm:t>
    </dgm:pt>
    <dgm:pt modelId="{83F98837-662D-446D-A8A6-23C6F04E8DE9}" type="parTrans" cxnId="{0CFE07A9-B831-44CE-A7AD-981222C943E6}">
      <dgm:prSet/>
      <dgm:spPr/>
      <dgm:t>
        <a:bodyPr/>
        <a:lstStyle/>
        <a:p>
          <a:endParaRPr lang="en-US" sz="2800"/>
        </a:p>
      </dgm:t>
    </dgm:pt>
    <dgm:pt modelId="{7F63E38C-6D95-4657-8ABA-48418AFB5EF1}" type="sibTrans" cxnId="{0CFE07A9-B831-44CE-A7AD-981222C943E6}">
      <dgm:prSet/>
      <dgm:spPr/>
      <dgm:t>
        <a:bodyPr/>
        <a:lstStyle/>
        <a:p>
          <a:endParaRPr lang="en-US" sz="2800"/>
        </a:p>
      </dgm:t>
    </dgm:pt>
    <dgm:pt modelId="{468FFBD8-F4BD-4AF5-B65B-1D7F199AEB49}">
      <dgm:prSet phldrT="[Text]" custT="1"/>
      <dgm:spPr/>
      <dgm:t>
        <a:bodyPr/>
        <a:lstStyle/>
        <a:p>
          <a:r>
            <a:rPr lang="en-US" sz="1200" dirty="0"/>
            <a:t>Jenkins – Dev Build</a:t>
          </a:r>
        </a:p>
      </dgm:t>
    </dgm:pt>
    <dgm:pt modelId="{D6DB1827-AABD-40A0-9961-8606F83071E3}" type="parTrans" cxnId="{60114AF4-17AC-4CF9-898B-CE040A035D97}">
      <dgm:prSet/>
      <dgm:spPr/>
      <dgm:t>
        <a:bodyPr/>
        <a:lstStyle/>
        <a:p>
          <a:endParaRPr lang="en-US" sz="2800"/>
        </a:p>
      </dgm:t>
    </dgm:pt>
    <dgm:pt modelId="{D3FBF746-CB0B-4C13-827D-2FEA0893BD9C}" type="sibTrans" cxnId="{60114AF4-17AC-4CF9-898B-CE040A035D97}">
      <dgm:prSet/>
      <dgm:spPr/>
      <dgm:t>
        <a:bodyPr/>
        <a:lstStyle/>
        <a:p>
          <a:endParaRPr lang="en-US" sz="2800"/>
        </a:p>
      </dgm:t>
    </dgm:pt>
    <dgm:pt modelId="{96615FD9-77EB-4F9D-99DC-6338B5BA2041}">
      <dgm:prSet phldrT="[Text]" custT="1"/>
      <dgm:spPr/>
      <dgm:t>
        <a:bodyPr/>
        <a:lstStyle/>
        <a:p>
          <a:r>
            <a:rPr lang="en-US" sz="1200" dirty="0">
              <a:solidFill>
                <a:srgbClr val="FF0000"/>
              </a:solidFill>
            </a:rPr>
            <a:t>Secure Assist – in IDE – Catch Vulnerabilities at project level</a:t>
          </a:r>
        </a:p>
      </dgm:t>
    </dgm:pt>
    <dgm:pt modelId="{8CC42373-CB8B-4F95-85F6-37B37B24A443}" type="parTrans" cxnId="{0AF66D77-3155-4E6B-AE27-B6A8FFD67861}">
      <dgm:prSet/>
      <dgm:spPr/>
      <dgm:t>
        <a:bodyPr/>
        <a:lstStyle/>
        <a:p>
          <a:endParaRPr lang="en-US" sz="2800"/>
        </a:p>
      </dgm:t>
    </dgm:pt>
    <dgm:pt modelId="{501C0534-35AB-4ADC-812D-C79C6D400EEC}" type="sibTrans" cxnId="{0AF66D77-3155-4E6B-AE27-B6A8FFD67861}">
      <dgm:prSet/>
      <dgm:spPr/>
      <dgm:t>
        <a:bodyPr/>
        <a:lstStyle/>
        <a:p>
          <a:endParaRPr lang="en-US" sz="2800"/>
        </a:p>
      </dgm:t>
    </dgm:pt>
    <dgm:pt modelId="{8B6960F5-ABCC-409C-A4B8-E9BD879DBC4B}">
      <dgm:prSet phldrT="[Text]" custT="1"/>
      <dgm:spPr/>
      <dgm:t>
        <a:bodyPr/>
        <a:lstStyle/>
        <a:p>
          <a:r>
            <a:rPr lang="en-US" sz="1200" dirty="0"/>
            <a:t>Code Coverage Check from IDE – Target 90-95%</a:t>
          </a:r>
        </a:p>
      </dgm:t>
    </dgm:pt>
    <dgm:pt modelId="{AA54B131-D761-4EFC-BEED-991F5B25653A}" type="parTrans" cxnId="{3F922E07-1E02-4533-8FBE-28C61312CA9A}">
      <dgm:prSet/>
      <dgm:spPr/>
      <dgm:t>
        <a:bodyPr/>
        <a:lstStyle/>
        <a:p>
          <a:endParaRPr lang="en-US" sz="2800"/>
        </a:p>
      </dgm:t>
    </dgm:pt>
    <dgm:pt modelId="{3BB7E160-4F30-4821-91A8-0BF91293B2DC}" type="sibTrans" cxnId="{3F922E07-1E02-4533-8FBE-28C61312CA9A}">
      <dgm:prSet/>
      <dgm:spPr/>
      <dgm:t>
        <a:bodyPr/>
        <a:lstStyle/>
        <a:p>
          <a:endParaRPr lang="en-US" sz="2800"/>
        </a:p>
      </dgm:t>
    </dgm:pt>
    <dgm:pt modelId="{F39B1A52-0EA5-4B00-B9B1-BB1F47566723}">
      <dgm:prSet phldrT="[Text]" custT="1"/>
      <dgm:spPr/>
      <dgm:t>
        <a:bodyPr/>
        <a:lstStyle/>
        <a:p>
          <a:r>
            <a:rPr lang="en-US" sz="1200" dirty="0"/>
            <a:t>Jenkins CI- Additional check with </a:t>
          </a:r>
          <a:r>
            <a:rPr lang="en-US" sz="1200" dirty="0" err="1"/>
            <a:t>Coverity</a:t>
          </a:r>
          <a:r>
            <a:rPr lang="en-US" sz="1200" dirty="0"/>
            <a:t> &amp; Black Duck </a:t>
          </a:r>
          <a:r>
            <a:rPr lang="en-US" sz="1200" dirty="0" err="1"/>
            <a:t>Opensource</a:t>
          </a:r>
          <a:r>
            <a:rPr lang="en-US" sz="1200" dirty="0"/>
            <a:t> Scan</a:t>
          </a:r>
        </a:p>
      </dgm:t>
    </dgm:pt>
    <dgm:pt modelId="{9C5D295C-E019-4D0C-9994-2905BADDF995}" type="parTrans" cxnId="{4AD1EC35-5C2A-461D-A705-16A2AC835F9A}">
      <dgm:prSet/>
      <dgm:spPr/>
      <dgm:t>
        <a:bodyPr/>
        <a:lstStyle/>
        <a:p>
          <a:endParaRPr lang="en-US" sz="2800"/>
        </a:p>
      </dgm:t>
    </dgm:pt>
    <dgm:pt modelId="{9974296F-9E71-4D9E-9C6F-9EFD8D9D86D2}" type="sibTrans" cxnId="{4AD1EC35-5C2A-461D-A705-16A2AC835F9A}">
      <dgm:prSet/>
      <dgm:spPr/>
      <dgm:t>
        <a:bodyPr/>
        <a:lstStyle/>
        <a:p>
          <a:endParaRPr lang="en-US" sz="2800"/>
        </a:p>
      </dgm:t>
    </dgm:pt>
    <dgm:pt modelId="{B19A770F-98BC-44DA-A696-EFBE9E1E51E8}">
      <dgm:prSet phldrT="[Text]" custT="1"/>
      <dgm:spPr/>
      <dgm:t>
        <a:bodyPr/>
        <a:lstStyle/>
        <a:p>
          <a:r>
            <a:rPr lang="en-US" sz="1200" dirty="0"/>
            <a:t>Jenkins – Deploy  (By Developer)</a:t>
          </a:r>
        </a:p>
      </dgm:t>
    </dgm:pt>
    <dgm:pt modelId="{F19CE335-EA62-4A7D-999D-C93662F53F09}" type="parTrans" cxnId="{6C5E8338-C1D1-4DBB-A091-8E460624A335}">
      <dgm:prSet/>
      <dgm:spPr/>
      <dgm:t>
        <a:bodyPr/>
        <a:lstStyle/>
        <a:p>
          <a:endParaRPr lang="en-US" sz="2800"/>
        </a:p>
      </dgm:t>
    </dgm:pt>
    <dgm:pt modelId="{498C232E-2515-4515-B4ED-1EC610DB1F25}" type="sibTrans" cxnId="{6C5E8338-C1D1-4DBB-A091-8E460624A335}">
      <dgm:prSet/>
      <dgm:spPr/>
      <dgm:t>
        <a:bodyPr/>
        <a:lstStyle/>
        <a:p>
          <a:endParaRPr lang="en-US" sz="3200"/>
        </a:p>
      </dgm:t>
    </dgm:pt>
    <dgm:pt modelId="{B9D34585-BA41-42EF-ACC1-9D73A510D333}">
      <dgm:prSet phldrT="[Text]" custT="1"/>
      <dgm:spPr/>
      <dgm:t>
        <a:bodyPr/>
        <a:lstStyle/>
        <a:p>
          <a:r>
            <a:rPr lang="en-US" sz="1200" dirty="0"/>
            <a:t>Jenkins – Deploy (By Dev Ops)</a:t>
          </a:r>
        </a:p>
      </dgm:t>
    </dgm:pt>
    <dgm:pt modelId="{045E3CEA-A312-4841-AEBD-BE38CB009FA0}" type="parTrans" cxnId="{14F6A318-46BC-4505-B57D-6E05362AD421}">
      <dgm:prSet/>
      <dgm:spPr/>
      <dgm:t>
        <a:bodyPr/>
        <a:lstStyle/>
        <a:p>
          <a:endParaRPr lang="en-US" sz="2800"/>
        </a:p>
      </dgm:t>
    </dgm:pt>
    <dgm:pt modelId="{DA6673B7-CDEF-4CDB-B124-E5B7C305A0A5}" type="sibTrans" cxnId="{14F6A318-46BC-4505-B57D-6E05362AD421}">
      <dgm:prSet/>
      <dgm:spPr/>
      <dgm:t>
        <a:bodyPr/>
        <a:lstStyle/>
        <a:p>
          <a:endParaRPr lang="en-US" sz="2800"/>
        </a:p>
      </dgm:t>
    </dgm:pt>
    <dgm:pt modelId="{E0A9B9D1-C735-45D6-AC6C-1FEEBF06DD91}" type="pres">
      <dgm:prSet presAssocID="{ACF2DCCA-02FE-4B38-A352-E359D488DEA4}" presName="cycle" presStyleCnt="0">
        <dgm:presLayoutVars>
          <dgm:dir/>
          <dgm:resizeHandles val="exact"/>
        </dgm:presLayoutVars>
      </dgm:prSet>
      <dgm:spPr/>
    </dgm:pt>
    <dgm:pt modelId="{D260F4C8-7CD1-434D-9E16-F86C84B26534}" type="pres">
      <dgm:prSet presAssocID="{5174D547-575E-4CA3-89BB-EE7C35DF09A6}" presName="dummy" presStyleCnt="0"/>
      <dgm:spPr/>
    </dgm:pt>
    <dgm:pt modelId="{D8DAF2EF-F9ED-4062-856F-F1099E198B3F}" type="pres">
      <dgm:prSet presAssocID="{5174D547-575E-4CA3-89BB-EE7C35DF09A6}" presName="node" presStyleLbl="revTx" presStyleIdx="0" presStyleCnt="8">
        <dgm:presLayoutVars>
          <dgm:bulletEnabled val="1"/>
        </dgm:presLayoutVars>
      </dgm:prSet>
      <dgm:spPr/>
    </dgm:pt>
    <dgm:pt modelId="{39664B46-192F-4BCD-A87E-C0CE3235E4B2}" type="pres">
      <dgm:prSet presAssocID="{89E2230A-6463-4865-BF68-648D026DE378}" presName="sibTrans" presStyleLbl="node1" presStyleIdx="0" presStyleCnt="8"/>
      <dgm:spPr/>
    </dgm:pt>
    <dgm:pt modelId="{D818D1BD-F8B5-4CF7-91E3-5D97CC3B658E}" type="pres">
      <dgm:prSet presAssocID="{96615FD9-77EB-4F9D-99DC-6338B5BA2041}" presName="dummy" presStyleCnt="0"/>
      <dgm:spPr/>
    </dgm:pt>
    <dgm:pt modelId="{70A9F766-6420-4637-8E68-928451AAE235}" type="pres">
      <dgm:prSet presAssocID="{96615FD9-77EB-4F9D-99DC-6338B5BA2041}" presName="node" presStyleLbl="revTx" presStyleIdx="1" presStyleCnt="8">
        <dgm:presLayoutVars>
          <dgm:bulletEnabled val="1"/>
        </dgm:presLayoutVars>
      </dgm:prSet>
      <dgm:spPr/>
    </dgm:pt>
    <dgm:pt modelId="{12B27996-C7A8-4ED3-BE9B-20DCA30D7155}" type="pres">
      <dgm:prSet presAssocID="{501C0534-35AB-4ADC-812D-C79C6D400EEC}" presName="sibTrans" presStyleLbl="node1" presStyleIdx="1" presStyleCnt="8"/>
      <dgm:spPr/>
    </dgm:pt>
    <dgm:pt modelId="{1513CDE6-EE49-4153-8134-231B087D88DA}" type="pres">
      <dgm:prSet presAssocID="{8B6960F5-ABCC-409C-A4B8-E9BD879DBC4B}" presName="dummy" presStyleCnt="0"/>
      <dgm:spPr/>
    </dgm:pt>
    <dgm:pt modelId="{4DD734DD-871C-44EF-9612-9D22D5B1ED4D}" type="pres">
      <dgm:prSet presAssocID="{8B6960F5-ABCC-409C-A4B8-E9BD879DBC4B}" presName="node" presStyleLbl="revTx" presStyleIdx="2" presStyleCnt="8">
        <dgm:presLayoutVars>
          <dgm:bulletEnabled val="1"/>
        </dgm:presLayoutVars>
      </dgm:prSet>
      <dgm:spPr/>
    </dgm:pt>
    <dgm:pt modelId="{79B8D80B-82FA-468D-8754-A8B85E348D2D}" type="pres">
      <dgm:prSet presAssocID="{3BB7E160-4F30-4821-91A8-0BF91293B2DC}" presName="sibTrans" presStyleLbl="node1" presStyleIdx="2" presStyleCnt="8"/>
      <dgm:spPr/>
    </dgm:pt>
    <dgm:pt modelId="{E81DD36C-5B42-4583-A23D-1579C2B9492F}" type="pres">
      <dgm:prSet presAssocID="{51370462-91D6-4A14-8452-DF7E1FD31707}" presName="dummy" presStyleCnt="0"/>
      <dgm:spPr/>
    </dgm:pt>
    <dgm:pt modelId="{D21413E3-B781-4A7F-8705-ED617ABD0ADE}" type="pres">
      <dgm:prSet presAssocID="{51370462-91D6-4A14-8452-DF7E1FD31707}" presName="node" presStyleLbl="revTx" presStyleIdx="3" presStyleCnt="8">
        <dgm:presLayoutVars>
          <dgm:bulletEnabled val="1"/>
        </dgm:presLayoutVars>
      </dgm:prSet>
      <dgm:spPr/>
    </dgm:pt>
    <dgm:pt modelId="{0D695A61-7583-46A4-B935-5936E274923C}" type="pres">
      <dgm:prSet presAssocID="{7F63E38C-6D95-4657-8ABA-48418AFB5EF1}" presName="sibTrans" presStyleLbl="node1" presStyleIdx="3" presStyleCnt="8"/>
      <dgm:spPr/>
    </dgm:pt>
    <dgm:pt modelId="{5874B4B9-C780-41EC-A2FF-57598602DFF2}" type="pres">
      <dgm:prSet presAssocID="{F39B1A52-0EA5-4B00-B9B1-BB1F47566723}" presName="dummy" presStyleCnt="0"/>
      <dgm:spPr/>
    </dgm:pt>
    <dgm:pt modelId="{37C70EFF-DCE9-4C6C-B65C-19A00787BCD3}" type="pres">
      <dgm:prSet presAssocID="{F39B1A52-0EA5-4B00-B9B1-BB1F47566723}" presName="node" presStyleLbl="revTx" presStyleIdx="4" presStyleCnt="8">
        <dgm:presLayoutVars>
          <dgm:bulletEnabled val="1"/>
        </dgm:presLayoutVars>
      </dgm:prSet>
      <dgm:spPr/>
    </dgm:pt>
    <dgm:pt modelId="{2AEB5A8B-1576-4861-BE7F-E401AE4A28BE}" type="pres">
      <dgm:prSet presAssocID="{9974296F-9E71-4D9E-9C6F-9EFD8D9D86D2}" presName="sibTrans" presStyleLbl="node1" presStyleIdx="4" presStyleCnt="8"/>
      <dgm:spPr/>
    </dgm:pt>
    <dgm:pt modelId="{645DBF89-259B-4AA3-A3DB-DAD4A0C3D263}" type="pres">
      <dgm:prSet presAssocID="{468FFBD8-F4BD-4AF5-B65B-1D7F199AEB49}" presName="dummy" presStyleCnt="0"/>
      <dgm:spPr/>
    </dgm:pt>
    <dgm:pt modelId="{AB8D9198-B17C-450E-B167-4CDF496D3B93}" type="pres">
      <dgm:prSet presAssocID="{468FFBD8-F4BD-4AF5-B65B-1D7F199AEB49}" presName="node" presStyleLbl="revTx" presStyleIdx="5" presStyleCnt="8">
        <dgm:presLayoutVars>
          <dgm:bulletEnabled val="1"/>
        </dgm:presLayoutVars>
      </dgm:prSet>
      <dgm:spPr/>
    </dgm:pt>
    <dgm:pt modelId="{786C62F9-9672-4779-839E-8F7AAB6449E6}" type="pres">
      <dgm:prSet presAssocID="{D3FBF746-CB0B-4C13-827D-2FEA0893BD9C}" presName="sibTrans" presStyleLbl="node1" presStyleIdx="5" presStyleCnt="8"/>
      <dgm:spPr/>
    </dgm:pt>
    <dgm:pt modelId="{CC7FF188-69FC-47A7-9344-3B9BE804B3A2}" type="pres">
      <dgm:prSet presAssocID="{B19A770F-98BC-44DA-A696-EFBE9E1E51E8}" presName="dummy" presStyleCnt="0"/>
      <dgm:spPr/>
    </dgm:pt>
    <dgm:pt modelId="{80F2CA3E-A214-455C-A7AA-C101644CE17D}" type="pres">
      <dgm:prSet presAssocID="{B19A770F-98BC-44DA-A696-EFBE9E1E51E8}" presName="node" presStyleLbl="revTx" presStyleIdx="6" presStyleCnt="8">
        <dgm:presLayoutVars>
          <dgm:bulletEnabled val="1"/>
        </dgm:presLayoutVars>
      </dgm:prSet>
      <dgm:spPr/>
    </dgm:pt>
    <dgm:pt modelId="{9928ABA6-C7A6-48DD-84B5-335134C3BCFC}" type="pres">
      <dgm:prSet presAssocID="{498C232E-2515-4515-B4ED-1EC610DB1F25}" presName="sibTrans" presStyleLbl="node1" presStyleIdx="6" presStyleCnt="8"/>
      <dgm:spPr/>
    </dgm:pt>
    <dgm:pt modelId="{3E63AE91-1420-4E03-AEA5-06F8AD51F0F2}" type="pres">
      <dgm:prSet presAssocID="{B9D34585-BA41-42EF-ACC1-9D73A510D333}" presName="dummy" presStyleCnt="0"/>
      <dgm:spPr/>
    </dgm:pt>
    <dgm:pt modelId="{CE226930-F8B8-45EC-B406-855790FCE004}" type="pres">
      <dgm:prSet presAssocID="{B9D34585-BA41-42EF-ACC1-9D73A510D333}" presName="node" presStyleLbl="revTx" presStyleIdx="7" presStyleCnt="8">
        <dgm:presLayoutVars>
          <dgm:bulletEnabled val="1"/>
        </dgm:presLayoutVars>
      </dgm:prSet>
      <dgm:spPr/>
    </dgm:pt>
    <dgm:pt modelId="{CED64963-3587-4DC5-A7A3-D81FBCC725E8}" type="pres">
      <dgm:prSet presAssocID="{DA6673B7-CDEF-4CDB-B124-E5B7C305A0A5}" presName="sibTrans" presStyleLbl="node1" presStyleIdx="7" presStyleCnt="8"/>
      <dgm:spPr/>
    </dgm:pt>
  </dgm:ptLst>
  <dgm:cxnLst>
    <dgm:cxn modelId="{9FA76500-89E6-4458-BEE2-E8708029D2B4}" type="presOf" srcId="{51370462-91D6-4A14-8452-DF7E1FD31707}" destId="{D21413E3-B781-4A7F-8705-ED617ABD0ADE}" srcOrd="0" destOrd="0" presId="urn:microsoft.com/office/officeart/2005/8/layout/cycle1"/>
    <dgm:cxn modelId="{6F66AD05-53A4-4815-89BB-9625B4028517}" type="presOf" srcId="{89E2230A-6463-4865-BF68-648D026DE378}" destId="{39664B46-192F-4BCD-A87E-C0CE3235E4B2}" srcOrd="0" destOrd="0" presId="urn:microsoft.com/office/officeart/2005/8/layout/cycle1"/>
    <dgm:cxn modelId="{3F922E07-1E02-4533-8FBE-28C61312CA9A}" srcId="{ACF2DCCA-02FE-4B38-A352-E359D488DEA4}" destId="{8B6960F5-ABCC-409C-A4B8-E9BD879DBC4B}" srcOrd="2" destOrd="0" parTransId="{AA54B131-D761-4EFC-BEED-991F5B25653A}" sibTransId="{3BB7E160-4F30-4821-91A8-0BF91293B2DC}"/>
    <dgm:cxn modelId="{1EE7B70A-FDB6-4EC1-919D-16FE0DF8A9A0}" type="presOf" srcId="{5174D547-575E-4CA3-89BB-EE7C35DF09A6}" destId="{D8DAF2EF-F9ED-4062-856F-F1099E198B3F}" srcOrd="0" destOrd="0" presId="urn:microsoft.com/office/officeart/2005/8/layout/cycle1"/>
    <dgm:cxn modelId="{1777100B-C34E-4DE5-8ADF-0FD4E08B7796}" type="presOf" srcId="{7F63E38C-6D95-4657-8ABA-48418AFB5EF1}" destId="{0D695A61-7583-46A4-B935-5936E274923C}" srcOrd="0" destOrd="0" presId="urn:microsoft.com/office/officeart/2005/8/layout/cycle1"/>
    <dgm:cxn modelId="{14F6A318-46BC-4505-B57D-6E05362AD421}" srcId="{ACF2DCCA-02FE-4B38-A352-E359D488DEA4}" destId="{B9D34585-BA41-42EF-ACC1-9D73A510D333}" srcOrd="7" destOrd="0" parTransId="{045E3CEA-A312-4841-AEBD-BE38CB009FA0}" sibTransId="{DA6673B7-CDEF-4CDB-B124-E5B7C305A0A5}"/>
    <dgm:cxn modelId="{004F3C22-4879-4D71-B4D5-AEF7EEB345AD}" type="presOf" srcId="{501C0534-35AB-4ADC-812D-C79C6D400EEC}" destId="{12B27996-C7A8-4ED3-BE9B-20DCA30D7155}" srcOrd="0" destOrd="0" presId="urn:microsoft.com/office/officeart/2005/8/layout/cycle1"/>
    <dgm:cxn modelId="{BFC48922-C2DC-4C4E-8948-050E538F30F4}" type="presOf" srcId="{9974296F-9E71-4D9E-9C6F-9EFD8D9D86D2}" destId="{2AEB5A8B-1576-4861-BE7F-E401AE4A28BE}" srcOrd="0" destOrd="0" presId="urn:microsoft.com/office/officeart/2005/8/layout/cycle1"/>
    <dgm:cxn modelId="{11885526-80AC-4F73-BAA5-9C3CD16E0AE9}" type="presOf" srcId="{498C232E-2515-4515-B4ED-1EC610DB1F25}" destId="{9928ABA6-C7A6-48DD-84B5-335134C3BCFC}" srcOrd="0" destOrd="0" presId="urn:microsoft.com/office/officeart/2005/8/layout/cycle1"/>
    <dgm:cxn modelId="{9ECF1D31-883A-4B9F-9984-FB8ECE7C5ECC}" type="presOf" srcId="{ACF2DCCA-02FE-4B38-A352-E359D488DEA4}" destId="{E0A9B9D1-C735-45D6-AC6C-1FEEBF06DD91}" srcOrd="0" destOrd="0" presId="urn:microsoft.com/office/officeart/2005/8/layout/cycle1"/>
    <dgm:cxn modelId="{4AD1EC35-5C2A-461D-A705-16A2AC835F9A}" srcId="{ACF2DCCA-02FE-4B38-A352-E359D488DEA4}" destId="{F39B1A52-0EA5-4B00-B9B1-BB1F47566723}" srcOrd="4" destOrd="0" parTransId="{9C5D295C-E019-4D0C-9994-2905BADDF995}" sibTransId="{9974296F-9E71-4D9E-9C6F-9EFD8D9D86D2}"/>
    <dgm:cxn modelId="{6C5E8338-C1D1-4DBB-A091-8E460624A335}" srcId="{ACF2DCCA-02FE-4B38-A352-E359D488DEA4}" destId="{B19A770F-98BC-44DA-A696-EFBE9E1E51E8}" srcOrd="6" destOrd="0" parTransId="{F19CE335-EA62-4A7D-999D-C93662F53F09}" sibTransId="{498C232E-2515-4515-B4ED-1EC610DB1F25}"/>
    <dgm:cxn modelId="{2742953B-4EAE-4478-B173-A3C332931EA5}" type="presOf" srcId="{D3FBF746-CB0B-4C13-827D-2FEA0893BD9C}" destId="{786C62F9-9672-4779-839E-8F7AAB6449E6}" srcOrd="0" destOrd="0" presId="urn:microsoft.com/office/officeart/2005/8/layout/cycle1"/>
    <dgm:cxn modelId="{28BB1B3E-7353-4C15-8DE1-2A62500F997B}" type="presOf" srcId="{3BB7E160-4F30-4821-91A8-0BF91293B2DC}" destId="{79B8D80B-82FA-468D-8754-A8B85E348D2D}" srcOrd="0" destOrd="0" presId="urn:microsoft.com/office/officeart/2005/8/layout/cycle1"/>
    <dgm:cxn modelId="{FDAB3B4B-47DD-43F0-9613-FFC00DBF2DEF}" type="presOf" srcId="{B19A770F-98BC-44DA-A696-EFBE9E1E51E8}" destId="{80F2CA3E-A214-455C-A7AA-C101644CE17D}" srcOrd="0" destOrd="0" presId="urn:microsoft.com/office/officeart/2005/8/layout/cycle1"/>
    <dgm:cxn modelId="{0AF66D77-3155-4E6B-AE27-B6A8FFD67861}" srcId="{ACF2DCCA-02FE-4B38-A352-E359D488DEA4}" destId="{96615FD9-77EB-4F9D-99DC-6338B5BA2041}" srcOrd="1" destOrd="0" parTransId="{8CC42373-CB8B-4F95-85F6-37B37B24A443}" sibTransId="{501C0534-35AB-4ADC-812D-C79C6D400EEC}"/>
    <dgm:cxn modelId="{71DB3A82-5138-4DD1-AB66-74D658D283D8}" type="presOf" srcId="{F39B1A52-0EA5-4B00-B9B1-BB1F47566723}" destId="{37C70EFF-DCE9-4C6C-B65C-19A00787BCD3}" srcOrd="0" destOrd="0" presId="urn:microsoft.com/office/officeart/2005/8/layout/cycle1"/>
    <dgm:cxn modelId="{59F69494-6C0F-4230-B94A-A0446E6B9DDA}" type="presOf" srcId="{96615FD9-77EB-4F9D-99DC-6338B5BA2041}" destId="{70A9F766-6420-4637-8E68-928451AAE235}" srcOrd="0" destOrd="0" presId="urn:microsoft.com/office/officeart/2005/8/layout/cycle1"/>
    <dgm:cxn modelId="{B84B54A0-7466-4FE4-9DBF-4702C5C00EC9}" type="presOf" srcId="{468FFBD8-F4BD-4AF5-B65B-1D7F199AEB49}" destId="{AB8D9198-B17C-450E-B167-4CDF496D3B93}" srcOrd="0" destOrd="0" presId="urn:microsoft.com/office/officeart/2005/8/layout/cycle1"/>
    <dgm:cxn modelId="{406FF2A2-58B5-43BB-A184-342DCB51EA99}" type="presOf" srcId="{B9D34585-BA41-42EF-ACC1-9D73A510D333}" destId="{CE226930-F8B8-45EC-B406-855790FCE004}" srcOrd="0" destOrd="0" presId="urn:microsoft.com/office/officeart/2005/8/layout/cycle1"/>
    <dgm:cxn modelId="{0CFE07A9-B831-44CE-A7AD-981222C943E6}" srcId="{ACF2DCCA-02FE-4B38-A352-E359D488DEA4}" destId="{51370462-91D6-4A14-8452-DF7E1FD31707}" srcOrd="3" destOrd="0" parTransId="{83F98837-662D-446D-A8A6-23C6F04E8DE9}" sibTransId="{7F63E38C-6D95-4657-8ABA-48418AFB5EF1}"/>
    <dgm:cxn modelId="{93A980AB-C265-44E4-81DD-3E134F76C986}" type="presOf" srcId="{8B6960F5-ABCC-409C-A4B8-E9BD879DBC4B}" destId="{4DD734DD-871C-44EF-9612-9D22D5B1ED4D}" srcOrd="0" destOrd="0" presId="urn:microsoft.com/office/officeart/2005/8/layout/cycle1"/>
    <dgm:cxn modelId="{E7B598D6-B0CC-43F8-B545-7A1063049879}" type="presOf" srcId="{DA6673B7-CDEF-4CDB-B124-E5B7C305A0A5}" destId="{CED64963-3587-4DC5-A7A3-D81FBCC725E8}" srcOrd="0" destOrd="0" presId="urn:microsoft.com/office/officeart/2005/8/layout/cycle1"/>
    <dgm:cxn modelId="{CEDD17F1-33CB-415C-B271-DE04012D882D}" srcId="{ACF2DCCA-02FE-4B38-A352-E359D488DEA4}" destId="{5174D547-575E-4CA3-89BB-EE7C35DF09A6}" srcOrd="0" destOrd="0" parTransId="{EEC30761-5114-4CBF-8F81-AAD74CF5258A}" sibTransId="{89E2230A-6463-4865-BF68-648D026DE378}"/>
    <dgm:cxn modelId="{60114AF4-17AC-4CF9-898B-CE040A035D97}" srcId="{ACF2DCCA-02FE-4B38-A352-E359D488DEA4}" destId="{468FFBD8-F4BD-4AF5-B65B-1D7F199AEB49}" srcOrd="5" destOrd="0" parTransId="{D6DB1827-AABD-40A0-9961-8606F83071E3}" sibTransId="{D3FBF746-CB0B-4C13-827D-2FEA0893BD9C}"/>
    <dgm:cxn modelId="{75404813-A301-4D94-BB9F-361B2896AAE8}" type="presParOf" srcId="{E0A9B9D1-C735-45D6-AC6C-1FEEBF06DD91}" destId="{D260F4C8-7CD1-434D-9E16-F86C84B26534}" srcOrd="0" destOrd="0" presId="urn:microsoft.com/office/officeart/2005/8/layout/cycle1"/>
    <dgm:cxn modelId="{B282228E-10C8-48CC-BCE4-DC055B911813}" type="presParOf" srcId="{E0A9B9D1-C735-45D6-AC6C-1FEEBF06DD91}" destId="{D8DAF2EF-F9ED-4062-856F-F1099E198B3F}" srcOrd="1" destOrd="0" presId="urn:microsoft.com/office/officeart/2005/8/layout/cycle1"/>
    <dgm:cxn modelId="{493E1046-7816-4B1F-9227-ECB506ECC4D2}" type="presParOf" srcId="{E0A9B9D1-C735-45D6-AC6C-1FEEBF06DD91}" destId="{39664B46-192F-4BCD-A87E-C0CE3235E4B2}" srcOrd="2" destOrd="0" presId="urn:microsoft.com/office/officeart/2005/8/layout/cycle1"/>
    <dgm:cxn modelId="{056E67D7-22A3-4C12-ABE9-2F44E2B0E16D}" type="presParOf" srcId="{E0A9B9D1-C735-45D6-AC6C-1FEEBF06DD91}" destId="{D818D1BD-F8B5-4CF7-91E3-5D97CC3B658E}" srcOrd="3" destOrd="0" presId="urn:microsoft.com/office/officeart/2005/8/layout/cycle1"/>
    <dgm:cxn modelId="{719C664F-7161-433B-996C-F7CBB20E12C6}" type="presParOf" srcId="{E0A9B9D1-C735-45D6-AC6C-1FEEBF06DD91}" destId="{70A9F766-6420-4637-8E68-928451AAE235}" srcOrd="4" destOrd="0" presId="urn:microsoft.com/office/officeart/2005/8/layout/cycle1"/>
    <dgm:cxn modelId="{041B47AB-F384-470C-B65C-7B4C7FE166AB}" type="presParOf" srcId="{E0A9B9D1-C735-45D6-AC6C-1FEEBF06DD91}" destId="{12B27996-C7A8-4ED3-BE9B-20DCA30D7155}" srcOrd="5" destOrd="0" presId="urn:microsoft.com/office/officeart/2005/8/layout/cycle1"/>
    <dgm:cxn modelId="{12654BCF-4849-464A-A815-18D2F4ABEBB1}" type="presParOf" srcId="{E0A9B9D1-C735-45D6-AC6C-1FEEBF06DD91}" destId="{1513CDE6-EE49-4153-8134-231B087D88DA}" srcOrd="6" destOrd="0" presId="urn:microsoft.com/office/officeart/2005/8/layout/cycle1"/>
    <dgm:cxn modelId="{302CE172-AAFE-4861-83C6-C4385E5AF13C}" type="presParOf" srcId="{E0A9B9D1-C735-45D6-AC6C-1FEEBF06DD91}" destId="{4DD734DD-871C-44EF-9612-9D22D5B1ED4D}" srcOrd="7" destOrd="0" presId="urn:microsoft.com/office/officeart/2005/8/layout/cycle1"/>
    <dgm:cxn modelId="{8ACBF7C5-F3C1-453C-ACC1-05BBFEB216A9}" type="presParOf" srcId="{E0A9B9D1-C735-45D6-AC6C-1FEEBF06DD91}" destId="{79B8D80B-82FA-468D-8754-A8B85E348D2D}" srcOrd="8" destOrd="0" presId="urn:microsoft.com/office/officeart/2005/8/layout/cycle1"/>
    <dgm:cxn modelId="{1AC59AC1-0F28-4369-9FDF-FA9F6F2035D2}" type="presParOf" srcId="{E0A9B9D1-C735-45D6-AC6C-1FEEBF06DD91}" destId="{E81DD36C-5B42-4583-A23D-1579C2B9492F}" srcOrd="9" destOrd="0" presId="urn:microsoft.com/office/officeart/2005/8/layout/cycle1"/>
    <dgm:cxn modelId="{7C1394FF-6AAD-4A32-B3B7-06147B810BBE}" type="presParOf" srcId="{E0A9B9D1-C735-45D6-AC6C-1FEEBF06DD91}" destId="{D21413E3-B781-4A7F-8705-ED617ABD0ADE}" srcOrd="10" destOrd="0" presId="urn:microsoft.com/office/officeart/2005/8/layout/cycle1"/>
    <dgm:cxn modelId="{1E41BBDD-D612-48C2-869D-ACF7190A42B8}" type="presParOf" srcId="{E0A9B9D1-C735-45D6-AC6C-1FEEBF06DD91}" destId="{0D695A61-7583-46A4-B935-5936E274923C}" srcOrd="11" destOrd="0" presId="urn:microsoft.com/office/officeart/2005/8/layout/cycle1"/>
    <dgm:cxn modelId="{79EAB5DC-7409-4D97-AC71-9126A53A2B77}" type="presParOf" srcId="{E0A9B9D1-C735-45D6-AC6C-1FEEBF06DD91}" destId="{5874B4B9-C780-41EC-A2FF-57598602DFF2}" srcOrd="12" destOrd="0" presId="urn:microsoft.com/office/officeart/2005/8/layout/cycle1"/>
    <dgm:cxn modelId="{5A719A64-5982-4FBE-99E8-DC78A0467376}" type="presParOf" srcId="{E0A9B9D1-C735-45D6-AC6C-1FEEBF06DD91}" destId="{37C70EFF-DCE9-4C6C-B65C-19A00787BCD3}" srcOrd="13" destOrd="0" presId="urn:microsoft.com/office/officeart/2005/8/layout/cycle1"/>
    <dgm:cxn modelId="{444C36E8-EA02-4606-AA05-87D2893C4395}" type="presParOf" srcId="{E0A9B9D1-C735-45D6-AC6C-1FEEBF06DD91}" destId="{2AEB5A8B-1576-4861-BE7F-E401AE4A28BE}" srcOrd="14" destOrd="0" presId="urn:microsoft.com/office/officeart/2005/8/layout/cycle1"/>
    <dgm:cxn modelId="{7829396B-D87F-4C2B-903E-0D577C87E74A}" type="presParOf" srcId="{E0A9B9D1-C735-45D6-AC6C-1FEEBF06DD91}" destId="{645DBF89-259B-4AA3-A3DB-DAD4A0C3D263}" srcOrd="15" destOrd="0" presId="urn:microsoft.com/office/officeart/2005/8/layout/cycle1"/>
    <dgm:cxn modelId="{6EECE7DD-0B08-4609-94E5-C2EB82C007D3}" type="presParOf" srcId="{E0A9B9D1-C735-45D6-AC6C-1FEEBF06DD91}" destId="{AB8D9198-B17C-450E-B167-4CDF496D3B93}" srcOrd="16" destOrd="0" presId="urn:microsoft.com/office/officeart/2005/8/layout/cycle1"/>
    <dgm:cxn modelId="{3355D719-FF2E-4BC6-96D7-76E19D2B78D5}" type="presParOf" srcId="{E0A9B9D1-C735-45D6-AC6C-1FEEBF06DD91}" destId="{786C62F9-9672-4779-839E-8F7AAB6449E6}" srcOrd="17" destOrd="0" presId="urn:microsoft.com/office/officeart/2005/8/layout/cycle1"/>
    <dgm:cxn modelId="{E95F222A-2294-4C11-9238-F31E48CF0461}" type="presParOf" srcId="{E0A9B9D1-C735-45D6-AC6C-1FEEBF06DD91}" destId="{CC7FF188-69FC-47A7-9344-3B9BE804B3A2}" srcOrd="18" destOrd="0" presId="urn:microsoft.com/office/officeart/2005/8/layout/cycle1"/>
    <dgm:cxn modelId="{6492DB39-DB8C-440F-BF87-BC915D21F9E7}" type="presParOf" srcId="{E0A9B9D1-C735-45D6-AC6C-1FEEBF06DD91}" destId="{80F2CA3E-A214-455C-A7AA-C101644CE17D}" srcOrd="19" destOrd="0" presId="urn:microsoft.com/office/officeart/2005/8/layout/cycle1"/>
    <dgm:cxn modelId="{59CA33E7-EBCA-451D-8679-E05B3C809145}" type="presParOf" srcId="{E0A9B9D1-C735-45D6-AC6C-1FEEBF06DD91}" destId="{9928ABA6-C7A6-48DD-84B5-335134C3BCFC}" srcOrd="20" destOrd="0" presId="urn:microsoft.com/office/officeart/2005/8/layout/cycle1"/>
    <dgm:cxn modelId="{B9DD85B5-136A-410E-A0B0-566714E6E0E8}" type="presParOf" srcId="{E0A9B9D1-C735-45D6-AC6C-1FEEBF06DD91}" destId="{3E63AE91-1420-4E03-AEA5-06F8AD51F0F2}" srcOrd="21" destOrd="0" presId="urn:microsoft.com/office/officeart/2005/8/layout/cycle1"/>
    <dgm:cxn modelId="{5230A18D-72E7-4D66-9A84-D920A98EFEF3}" type="presParOf" srcId="{E0A9B9D1-C735-45D6-AC6C-1FEEBF06DD91}" destId="{CE226930-F8B8-45EC-B406-855790FCE004}" srcOrd="22" destOrd="0" presId="urn:microsoft.com/office/officeart/2005/8/layout/cycle1"/>
    <dgm:cxn modelId="{74C697DD-26ED-42D1-A17D-93A2FFD2416C}" type="presParOf" srcId="{E0A9B9D1-C735-45D6-AC6C-1FEEBF06DD91}" destId="{CED64963-3587-4DC5-A7A3-D81FBCC725E8}" srcOrd="23" destOrd="0" presId="urn:microsoft.com/office/officeart/2005/8/layout/cycle1"/>
  </dgm:cxnLst>
  <dgm:bg>
    <a:noFill/>
  </dgm:bg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DAF2EF-F9ED-4062-856F-F1099E198B3F}">
      <dsp:nvSpPr>
        <dsp:cNvPr id="0" name=""/>
        <dsp:cNvSpPr/>
      </dsp:nvSpPr>
      <dsp:spPr>
        <a:xfrm>
          <a:off x="4156354" y="512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de development – in IDE</a:t>
          </a:r>
        </a:p>
      </dsp:txBody>
      <dsp:txXfrm>
        <a:off x="4156354" y="512"/>
        <a:ext cx="645508" cy="645508"/>
      </dsp:txXfrm>
    </dsp:sp>
    <dsp:sp modelId="{39664B46-192F-4BCD-A87E-C0CE3235E4B2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19269215"/>
            <a:gd name="adj4" fmla="val 183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A9F766-6420-4637-8E68-928451AAE235}">
      <dsp:nvSpPr>
        <dsp:cNvPr id="0" name=""/>
        <dsp:cNvSpPr/>
      </dsp:nvSpPr>
      <dsp:spPr>
        <a:xfrm>
          <a:off x="5055910" y="900068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0000"/>
              </a:solidFill>
            </a:rPr>
            <a:t>Secure Assist – in IDE – Catch Vulnerabilities at project level</a:t>
          </a:r>
        </a:p>
      </dsp:txBody>
      <dsp:txXfrm>
        <a:off x="5055910" y="900068"/>
        <a:ext cx="645508" cy="645508"/>
      </dsp:txXfrm>
    </dsp:sp>
    <dsp:sp modelId="{12B27996-C7A8-4ED3-BE9B-20DCA30D7155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434954"/>
            <a:gd name="adj4" fmla="val 209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D734DD-871C-44EF-9612-9D22D5B1ED4D}">
      <dsp:nvSpPr>
        <dsp:cNvPr id="0" name=""/>
        <dsp:cNvSpPr/>
      </dsp:nvSpPr>
      <dsp:spPr>
        <a:xfrm>
          <a:off x="5055910" y="2172234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de Coverage Check from IDE – Target 90-95%</a:t>
          </a:r>
        </a:p>
      </dsp:txBody>
      <dsp:txXfrm>
        <a:off x="5055910" y="2172234"/>
        <a:ext cx="645508" cy="645508"/>
      </dsp:txXfrm>
    </dsp:sp>
    <dsp:sp modelId="{79B8D80B-82FA-468D-8754-A8B85E348D2D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3069215"/>
            <a:gd name="adj4" fmla="val 21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1413E3-B781-4A7F-8705-ED617ABD0ADE}">
      <dsp:nvSpPr>
        <dsp:cNvPr id="0" name=""/>
        <dsp:cNvSpPr/>
      </dsp:nvSpPr>
      <dsp:spPr>
        <a:xfrm>
          <a:off x="4156354" y="3071790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VN </a:t>
          </a:r>
          <a:r>
            <a:rPr lang="en-US" sz="1200" kern="1200" dirty="0" err="1"/>
            <a:t>Checkin</a:t>
          </a:r>
          <a:endParaRPr lang="en-US" sz="1200" kern="1200" dirty="0"/>
        </a:p>
      </dsp:txBody>
      <dsp:txXfrm>
        <a:off x="4156354" y="3071790"/>
        <a:ext cx="645508" cy="645508"/>
      </dsp:txXfrm>
    </dsp:sp>
    <dsp:sp modelId="{0D695A61-7583-46A4-B935-5936E274923C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5834954"/>
            <a:gd name="adj4" fmla="val 47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C70EFF-DCE9-4C6C-B65C-19A00787BCD3}">
      <dsp:nvSpPr>
        <dsp:cNvPr id="0" name=""/>
        <dsp:cNvSpPr/>
      </dsp:nvSpPr>
      <dsp:spPr>
        <a:xfrm>
          <a:off x="2884188" y="3071790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CI- Additional check with </a:t>
          </a:r>
          <a:r>
            <a:rPr lang="en-US" sz="1200" kern="1200" dirty="0" err="1"/>
            <a:t>Coverity</a:t>
          </a:r>
          <a:r>
            <a:rPr lang="en-US" sz="1200" kern="1200" dirty="0"/>
            <a:t> &amp; Black Duck </a:t>
          </a:r>
          <a:r>
            <a:rPr lang="en-US" sz="1200" kern="1200" dirty="0" err="1"/>
            <a:t>Opensource</a:t>
          </a:r>
          <a:r>
            <a:rPr lang="en-US" sz="1200" kern="1200" dirty="0"/>
            <a:t> Scan</a:t>
          </a:r>
        </a:p>
      </dsp:txBody>
      <dsp:txXfrm>
        <a:off x="2884188" y="3071790"/>
        <a:ext cx="645508" cy="645508"/>
      </dsp:txXfrm>
    </dsp:sp>
    <dsp:sp modelId="{2AEB5A8B-1576-4861-BE7F-E401AE4A28BE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8469215"/>
            <a:gd name="adj4" fmla="val 75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8D9198-B17C-450E-B167-4CDF496D3B93}">
      <dsp:nvSpPr>
        <dsp:cNvPr id="0" name=""/>
        <dsp:cNvSpPr/>
      </dsp:nvSpPr>
      <dsp:spPr>
        <a:xfrm>
          <a:off x="1984632" y="2172234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v Build</a:t>
          </a:r>
        </a:p>
      </dsp:txBody>
      <dsp:txXfrm>
        <a:off x="1984632" y="2172234"/>
        <a:ext cx="645508" cy="645508"/>
      </dsp:txXfrm>
    </dsp:sp>
    <dsp:sp modelId="{786C62F9-9672-4779-839E-8F7AAB6449E6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11234954"/>
            <a:gd name="adj4" fmla="val 101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F2CA3E-A214-455C-A7AA-C101644CE17D}">
      <dsp:nvSpPr>
        <dsp:cNvPr id="0" name=""/>
        <dsp:cNvSpPr/>
      </dsp:nvSpPr>
      <dsp:spPr>
        <a:xfrm>
          <a:off x="1984632" y="900068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ploy  (By Developer)</a:t>
          </a:r>
        </a:p>
      </dsp:txBody>
      <dsp:txXfrm>
        <a:off x="1984632" y="900068"/>
        <a:ext cx="645508" cy="645508"/>
      </dsp:txXfrm>
    </dsp:sp>
    <dsp:sp modelId="{9928ABA6-C7A6-48DD-84B5-335134C3BCFC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13869215"/>
            <a:gd name="adj4" fmla="val 129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226930-F8B8-45EC-B406-855790FCE004}">
      <dsp:nvSpPr>
        <dsp:cNvPr id="0" name=""/>
        <dsp:cNvSpPr/>
      </dsp:nvSpPr>
      <dsp:spPr>
        <a:xfrm>
          <a:off x="2884188" y="512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ploy (By Dev Ops)</a:t>
          </a:r>
        </a:p>
      </dsp:txBody>
      <dsp:txXfrm>
        <a:off x="2884188" y="512"/>
        <a:ext cx="645508" cy="645508"/>
      </dsp:txXfrm>
    </dsp:sp>
    <dsp:sp modelId="{CED64963-3587-4DC5-A7A3-D81FBCC725E8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16634954"/>
            <a:gd name="adj4" fmla="val 155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DAF2EF-F9ED-4062-856F-F1099E198B3F}">
      <dsp:nvSpPr>
        <dsp:cNvPr id="0" name=""/>
        <dsp:cNvSpPr/>
      </dsp:nvSpPr>
      <dsp:spPr>
        <a:xfrm>
          <a:off x="4156354" y="512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de development – in IDE</a:t>
          </a:r>
        </a:p>
      </dsp:txBody>
      <dsp:txXfrm>
        <a:off x="4156354" y="512"/>
        <a:ext cx="645508" cy="645508"/>
      </dsp:txXfrm>
    </dsp:sp>
    <dsp:sp modelId="{39664B46-192F-4BCD-A87E-C0CE3235E4B2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19269215"/>
            <a:gd name="adj4" fmla="val 183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A9F766-6420-4637-8E68-928451AAE235}">
      <dsp:nvSpPr>
        <dsp:cNvPr id="0" name=""/>
        <dsp:cNvSpPr/>
      </dsp:nvSpPr>
      <dsp:spPr>
        <a:xfrm>
          <a:off x="5055910" y="900068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0000"/>
              </a:solidFill>
            </a:rPr>
            <a:t>Secure Assist – in IDE – Catch Vulnerabilities at project level</a:t>
          </a:r>
        </a:p>
      </dsp:txBody>
      <dsp:txXfrm>
        <a:off x="5055910" y="900068"/>
        <a:ext cx="645508" cy="645508"/>
      </dsp:txXfrm>
    </dsp:sp>
    <dsp:sp modelId="{12B27996-C7A8-4ED3-BE9B-20DCA30D7155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434954"/>
            <a:gd name="adj4" fmla="val 209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D734DD-871C-44EF-9612-9D22D5B1ED4D}">
      <dsp:nvSpPr>
        <dsp:cNvPr id="0" name=""/>
        <dsp:cNvSpPr/>
      </dsp:nvSpPr>
      <dsp:spPr>
        <a:xfrm>
          <a:off x="5055910" y="2172234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de Coverage Check from IDE – Target 90-95%</a:t>
          </a:r>
        </a:p>
      </dsp:txBody>
      <dsp:txXfrm>
        <a:off x="5055910" y="2172234"/>
        <a:ext cx="645508" cy="645508"/>
      </dsp:txXfrm>
    </dsp:sp>
    <dsp:sp modelId="{79B8D80B-82FA-468D-8754-A8B85E348D2D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3069215"/>
            <a:gd name="adj4" fmla="val 21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1413E3-B781-4A7F-8705-ED617ABD0ADE}">
      <dsp:nvSpPr>
        <dsp:cNvPr id="0" name=""/>
        <dsp:cNvSpPr/>
      </dsp:nvSpPr>
      <dsp:spPr>
        <a:xfrm>
          <a:off x="4156354" y="3071790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VN </a:t>
          </a:r>
          <a:r>
            <a:rPr lang="en-US" sz="1200" kern="1200" dirty="0" err="1"/>
            <a:t>Checkin</a:t>
          </a:r>
          <a:endParaRPr lang="en-US" sz="1200" kern="1200" dirty="0"/>
        </a:p>
      </dsp:txBody>
      <dsp:txXfrm>
        <a:off x="4156354" y="3071790"/>
        <a:ext cx="645508" cy="645508"/>
      </dsp:txXfrm>
    </dsp:sp>
    <dsp:sp modelId="{0D695A61-7583-46A4-B935-5936E274923C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5834954"/>
            <a:gd name="adj4" fmla="val 47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C70EFF-DCE9-4C6C-B65C-19A00787BCD3}">
      <dsp:nvSpPr>
        <dsp:cNvPr id="0" name=""/>
        <dsp:cNvSpPr/>
      </dsp:nvSpPr>
      <dsp:spPr>
        <a:xfrm>
          <a:off x="2884188" y="3071790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CI- Additional check with </a:t>
          </a:r>
          <a:r>
            <a:rPr lang="en-US" sz="1200" kern="1200" dirty="0" err="1"/>
            <a:t>Coverity</a:t>
          </a:r>
          <a:r>
            <a:rPr lang="en-US" sz="1200" kern="1200" dirty="0"/>
            <a:t> &amp; Black Duck </a:t>
          </a:r>
          <a:r>
            <a:rPr lang="en-US" sz="1200" kern="1200" dirty="0" err="1"/>
            <a:t>Opensource</a:t>
          </a:r>
          <a:r>
            <a:rPr lang="en-US" sz="1200" kern="1200" dirty="0"/>
            <a:t> Scan</a:t>
          </a:r>
        </a:p>
      </dsp:txBody>
      <dsp:txXfrm>
        <a:off x="2884188" y="3071790"/>
        <a:ext cx="645508" cy="645508"/>
      </dsp:txXfrm>
    </dsp:sp>
    <dsp:sp modelId="{2AEB5A8B-1576-4861-BE7F-E401AE4A28BE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8469215"/>
            <a:gd name="adj4" fmla="val 75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8D9198-B17C-450E-B167-4CDF496D3B93}">
      <dsp:nvSpPr>
        <dsp:cNvPr id="0" name=""/>
        <dsp:cNvSpPr/>
      </dsp:nvSpPr>
      <dsp:spPr>
        <a:xfrm>
          <a:off x="1984632" y="2172234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v Build</a:t>
          </a:r>
        </a:p>
      </dsp:txBody>
      <dsp:txXfrm>
        <a:off x="1984632" y="2172234"/>
        <a:ext cx="645508" cy="645508"/>
      </dsp:txXfrm>
    </dsp:sp>
    <dsp:sp modelId="{786C62F9-9672-4779-839E-8F7AAB6449E6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11234954"/>
            <a:gd name="adj4" fmla="val 101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F2CA3E-A214-455C-A7AA-C101644CE17D}">
      <dsp:nvSpPr>
        <dsp:cNvPr id="0" name=""/>
        <dsp:cNvSpPr/>
      </dsp:nvSpPr>
      <dsp:spPr>
        <a:xfrm>
          <a:off x="1984632" y="900068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ploy  (By Developer)</a:t>
          </a:r>
        </a:p>
      </dsp:txBody>
      <dsp:txXfrm>
        <a:off x="1984632" y="900068"/>
        <a:ext cx="645508" cy="645508"/>
      </dsp:txXfrm>
    </dsp:sp>
    <dsp:sp modelId="{9928ABA6-C7A6-48DD-84B5-335134C3BCFC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13869215"/>
            <a:gd name="adj4" fmla="val 1291380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226930-F8B8-45EC-B406-855790FCE004}">
      <dsp:nvSpPr>
        <dsp:cNvPr id="0" name=""/>
        <dsp:cNvSpPr/>
      </dsp:nvSpPr>
      <dsp:spPr>
        <a:xfrm>
          <a:off x="2884188" y="512"/>
          <a:ext cx="645508" cy="645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Jenkins – Deploy (By Dev Ops)</a:t>
          </a:r>
        </a:p>
      </dsp:txBody>
      <dsp:txXfrm>
        <a:off x="2884188" y="512"/>
        <a:ext cx="645508" cy="645508"/>
      </dsp:txXfrm>
    </dsp:sp>
    <dsp:sp modelId="{CED64963-3587-4DC5-A7A3-D81FBCC725E8}">
      <dsp:nvSpPr>
        <dsp:cNvPr id="0" name=""/>
        <dsp:cNvSpPr/>
      </dsp:nvSpPr>
      <dsp:spPr>
        <a:xfrm>
          <a:off x="2044497" y="60377"/>
          <a:ext cx="3597055" cy="3597055"/>
        </a:xfrm>
        <a:prstGeom prst="circularArrow">
          <a:avLst>
            <a:gd name="adj1" fmla="val 3499"/>
            <a:gd name="adj2" fmla="val 216984"/>
            <a:gd name="adj3" fmla="val 16634954"/>
            <a:gd name="adj4" fmla="val 15548062"/>
            <a:gd name="adj5" fmla="val 4083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7CB0F6-1017-4EB3-88AB-5C83D1018907}" type="datetimeFigureOut">
              <a:rPr lang="en-US" smtClean="0"/>
              <a:t>4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2E9246-C301-4C6E-B2AF-ED759CEB58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88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0F5E7E-BE7A-4403-885C-A8E6B06107A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1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0F5E7E-BE7A-4403-885C-A8E6B06107A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9876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0F5E7E-BE7A-4403-885C-A8E6B06107A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904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4AA388B-05BE-4E76-A7C9-B9F72CBFE727}"/>
              </a:ext>
            </a:extLst>
          </p:cNvPr>
          <p:cNvSpPr/>
          <p:nvPr/>
        </p:nvSpPr>
        <p:spPr bwMode="auto">
          <a:xfrm>
            <a:off x="1" y="0"/>
            <a:ext cx="12192000" cy="6217920"/>
          </a:xfrm>
          <a:prstGeom prst="rect">
            <a:avLst/>
          </a:prstGeom>
          <a:solidFill>
            <a:schemeClr val="bg2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336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64380" y="2159044"/>
            <a:ext cx="5833834" cy="1107996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64381" y="3968105"/>
            <a:ext cx="5833834" cy="307777"/>
          </a:xfr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 2" pitchFamily="18" charset="2"/>
              <a:buNone/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 bwMode="auto">
          <a:xfrm flipH="1">
            <a:off x="0" y="6217920"/>
            <a:ext cx="1219212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EFF432B-C949-431E-A90D-355ED5904B67}"/>
              </a:ext>
            </a:extLst>
          </p:cNvPr>
          <p:cNvGrpSpPr/>
          <p:nvPr/>
        </p:nvGrpSpPr>
        <p:grpSpPr>
          <a:xfrm>
            <a:off x="10546240" y="6380402"/>
            <a:ext cx="1219595" cy="186117"/>
            <a:chOff x="10543493" y="6380401"/>
            <a:chExt cx="1219277" cy="186117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2B027AD6-A159-4CB4-85EF-A4C9FF6DE8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3493" y="6393814"/>
              <a:ext cx="468953" cy="162643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E8181636-0E21-4B5B-83BC-1AF35BD92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8787" y="6380401"/>
              <a:ext cx="442759" cy="186117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21C224B-0D82-4D18-90FA-BF70ED26D4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22251" y="6393814"/>
              <a:ext cx="340519" cy="162643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1E2E0DB3-A9B9-4D07-909C-6A78C78BAECB}"/>
              </a:ext>
            </a:extLst>
          </p:cNvPr>
          <p:cNvSpPr>
            <a:spLocks/>
          </p:cNvSpPr>
          <p:nvPr/>
        </p:nvSpPr>
        <p:spPr>
          <a:xfrm>
            <a:off x="8438674" y="6594128"/>
            <a:ext cx="3341528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Copyright © 2021 HCL Technologies Limited  |  www.hcltech.com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6FB16F1-2AAB-4CD0-A6C0-AE2E883340D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595" y="635925"/>
            <a:ext cx="5027143" cy="5015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86747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9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2" y="301760"/>
            <a:ext cx="11294533" cy="615553"/>
          </a:xfrm>
        </p:spPr>
        <p:txBody>
          <a:bodyPr anchor="t"/>
          <a:lstStyle>
            <a:lvl1pPr>
              <a:defRPr>
                <a:solidFill>
                  <a:srgbClr val="0081C6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381020" indent="-152407">
              <a:buFont typeface="Trebuchet MS" panose="020B0603020202020204" pitchFamily="34" charset="0"/>
              <a:buChar char="―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75055" y="6499817"/>
            <a:ext cx="1847427" cy="13849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B901D1-D6F8-4F4F-A72A-71883671B0B6}" type="slidenum">
              <a:rPr lang="en-US">
                <a:solidFill>
                  <a:srgbClr val="474747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74747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89248" y="6309360"/>
            <a:ext cx="7010400" cy="40233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/>
            </a:lvl1pPr>
          </a:lstStyle>
          <a:p>
            <a:pPr lvl="0"/>
            <a:r>
              <a:rPr lang="en-US"/>
              <a:t>Type source and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246733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5292224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3976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294073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1" y="735106"/>
            <a:ext cx="12192000" cy="259976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503955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67FC4FA-D6D6-4D57-9C80-D2055B4D3118}"/>
              </a:ext>
            </a:extLst>
          </p:cNvPr>
          <p:cNvSpPr>
            <a:spLocks/>
          </p:cNvSpPr>
          <p:nvPr userDrawn="1"/>
        </p:nvSpPr>
        <p:spPr>
          <a:xfrm>
            <a:off x="7991343" y="6576274"/>
            <a:ext cx="3788859" cy="246221"/>
          </a:xfrm>
          <a:prstGeom prst="rect">
            <a:avLst/>
          </a:prstGeom>
          <a:noFill/>
          <a:ln>
            <a:noFill/>
          </a:ln>
        </p:spPr>
        <p:txBody>
          <a:bodyPr wrap="none" rIns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20 HCL Technologies Limited  |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4164184226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/>
          <p:cNvGrpSpPr/>
          <p:nvPr/>
        </p:nvGrpSpPr>
        <p:grpSpPr>
          <a:xfrm>
            <a:off x="4210028" y="2517504"/>
            <a:ext cx="3771942" cy="576062"/>
            <a:chOff x="3712599" y="617435"/>
            <a:chExt cx="1795090" cy="274151"/>
          </a:xfrm>
        </p:grpSpPr>
        <p:sp>
          <p:nvSpPr>
            <p:cNvPr id="22" name="Freeform 7"/>
            <p:cNvSpPr>
              <a:spLocks/>
            </p:cNvSpPr>
            <p:nvPr userDrawn="1"/>
          </p:nvSpPr>
          <p:spPr bwMode="auto">
            <a:xfrm>
              <a:off x="3712599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/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4368177" y="617435"/>
              <a:ext cx="650811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/>
            </a:p>
          </p:txBody>
        </p:sp>
        <p:sp>
          <p:nvSpPr>
            <p:cNvPr id="24" name="Freeform 9"/>
            <p:cNvSpPr>
              <a:spLocks/>
            </p:cNvSpPr>
            <p:nvPr userDrawn="1"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/>
            </a:p>
          </p:txBody>
        </p:sp>
      </p:grpSp>
      <p:sp>
        <p:nvSpPr>
          <p:cNvPr id="54" name="TextBox 48"/>
          <p:cNvSpPr txBox="1">
            <a:spLocks noChangeArrowheads="1"/>
          </p:cNvSpPr>
          <p:nvPr/>
        </p:nvSpPr>
        <p:spPr bwMode="auto">
          <a:xfrm>
            <a:off x="3087823" y="5105410"/>
            <a:ext cx="601635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600" b="0" dirty="0">
                <a:solidFill>
                  <a:schemeClr val="bg1"/>
                </a:solidFill>
                <a:latin typeface="+mj-lt"/>
              </a:rPr>
              <a:t>$9.94 BILLION | 150,000+ IDEAPRENEURS | 46 COUNTRIES</a:t>
            </a:r>
          </a:p>
        </p:txBody>
      </p:sp>
      <p:sp>
        <p:nvSpPr>
          <p:cNvPr id="51" name="TextBox 48">
            <a:extLst>
              <a:ext uri="{FF2B5EF4-FFF2-40B4-BE49-F238E27FC236}">
                <a16:creationId xmlns:a16="http://schemas.microsoft.com/office/drawing/2014/main" id="{DB897070-8CAB-4115-99EC-6A8691EBE5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24972" y="3429013"/>
            <a:ext cx="314206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2400" b="0" spc="300" dirty="0">
                <a:solidFill>
                  <a:schemeClr val="bg1"/>
                </a:solidFill>
                <a:latin typeface="+mj-lt"/>
              </a:rPr>
              <a:t>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43195405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3098292"/>
            <a:ext cx="12192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9144">
            <a:solidFill>
              <a:srgbClr val="094D80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12581" y="2560692"/>
            <a:ext cx="1096683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988061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9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8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2" y="301760"/>
            <a:ext cx="11294533" cy="615553"/>
          </a:xfrm>
        </p:spPr>
        <p:txBody>
          <a:bodyPr anchor="t"/>
          <a:lstStyle>
            <a:lvl1pPr>
              <a:defRPr>
                <a:solidFill>
                  <a:srgbClr val="0081C6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381020" indent="-152407">
              <a:buFont typeface="Trebuchet MS" panose="020B0603020202020204" pitchFamily="34" charset="0"/>
              <a:buChar char="―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75055" y="6499817"/>
            <a:ext cx="1847427" cy="13849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B901D1-D6F8-4F4F-A72A-71883671B0B6}" type="slidenum">
              <a:rPr lang="en-US">
                <a:solidFill>
                  <a:srgbClr val="474747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74747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89248" y="6309360"/>
            <a:ext cx="7010400" cy="40233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/>
            </a:lvl1pPr>
          </a:lstStyle>
          <a:p>
            <a:pPr lvl="0"/>
            <a:r>
              <a:rPr lang="en-US"/>
              <a:t>Type source and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2907116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1" y="1219201"/>
            <a:ext cx="11379200" cy="4976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3" name="Straight Connector 2"/>
          <p:cNvCxnSpPr/>
          <p:nvPr/>
        </p:nvCxnSpPr>
        <p:spPr bwMode="auto">
          <a:xfrm>
            <a:off x="0" y="868680"/>
            <a:ext cx="1219212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06401" y="57076"/>
            <a:ext cx="11379200" cy="719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C7C26F-6025-4A9C-9147-02ACF2511635}"/>
              </a:ext>
            </a:extLst>
          </p:cNvPr>
          <p:cNvSpPr/>
          <p:nvPr/>
        </p:nvSpPr>
        <p:spPr>
          <a:xfrm>
            <a:off x="547436" y="6594128"/>
            <a:ext cx="65" cy="138499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04D3DC-FAF4-45C0-958A-27B93C48168F}"/>
              </a:ext>
            </a:extLst>
          </p:cNvPr>
          <p:cNvSpPr>
            <a:spLocks/>
          </p:cNvSpPr>
          <p:nvPr/>
        </p:nvSpPr>
        <p:spPr>
          <a:xfrm>
            <a:off x="8438674" y="6594128"/>
            <a:ext cx="3341528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Segoe UI" panose="020B0502040204020203" pitchFamily="34" charset="0"/>
              </a:rPr>
              <a:t>Copyright © 2021 HCL Technologies Limited  |  www.hcltech.com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87E8FC-6845-41F5-AF5A-D63CF7138495}"/>
              </a:ext>
            </a:extLst>
          </p:cNvPr>
          <p:cNvGrpSpPr/>
          <p:nvPr/>
        </p:nvGrpSpPr>
        <p:grpSpPr>
          <a:xfrm>
            <a:off x="10546240" y="6380402"/>
            <a:ext cx="1219595" cy="186117"/>
            <a:chOff x="10543493" y="6380401"/>
            <a:chExt cx="1219277" cy="186117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90A4648C-7022-492E-B132-12914C2D8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3493" y="6393814"/>
              <a:ext cx="468953" cy="162643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D72D539E-5F7D-4473-8C43-2D773C46E8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8787" y="6380401"/>
              <a:ext cx="442759" cy="186117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E78A5DF3-E550-4534-8122-29ABCEF742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22251" y="6393814"/>
              <a:ext cx="340519" cy="162643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A3B2962-CA1A-458D-8B01-78B5AA543C70}"/>
              </a:ext>
            </a:extLst>
          </p:cNvPr>
          <p:cNvCxnSpPr/>
          <p:nvPr/>
        </p:nvCxnSpPr>
        <p:spPr bwMode="auto">
          <a:xfrm>
            <a:off x="612862" y="6602656"/>
            <a:ext cx="0" cy="121443"/>
          </a:xfrm>
          <a:prstGeom prst="line">
            <a:avLst/>
          </a:prstGeom>
          <a:solidFill>
            <a:schemeClr val="accent1"/>
          </a:solidFill>
          <a:ln w="9525" cap="rnd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CD9049-97CB-4B01-9AF7-D979C81D05BE}"/>
              </a:ext>
            </a:extLst>
          </p:cNvPr>
          <p:cNvCxnSpPr/>
          <p:nvPr userDrawn="1"/>
        </p:nvCxnSpPr>
        <p:spPr bwMode="auto">
          <a:xfrm>
            <a:off x="0" y="868680"/>
            <a:ext cx="1219212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068733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0" r:id="rId9"/>
    <p:sldLayoutId id="2147483671" r:id="rId10"/>
  </p:sldLayoutIdLst>
  <p:transition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cap="none" baseline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233363" indent="-233363" algn="l" rtl="0" eaLnBrk="1" fontAlgn="base" hangingPunct="1">
        <a:spcBef>
          <a:spcPct val="10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j-lt"/>
          <a:ea typeface="+mn-ea"/>
          <a:cs typeface="+mn-cs"/>
        </a:defRPr>
      </a:lvl1pPr>
      <a:lvl2pPr marL="457200" indent="-228600" algn="l" rtl="0" eaLnBrk="1" fontAlgn="base" hangingPunct="1">
        <a:spcBef>
          <a:spcPct val="50000"/>
        </a:spcBef>
        <a:spcAft>
          <a:spcPct val="0"/>
        </a:spcAft>
        <a:buClr>
          <a:schemeClr val="tx1"/>
        </a:buClr>
        <a:buFont typeface="Calibri" panose="020F0502020204030204" pitchFamily="34" charset="0"/>
        <a:buChar char="−"/>
        <a:defRPr sz="1400">
          <a:solidFill>
            <a:schemeClr val="tx1"/>
          </a:solidFill>
          <a:latin typeface="+mj-lt"/>
        </a:defRPr>
      </a:lvl2pPr>
      <a:lvl3pPr marL="690563" indent="-233363" algn="l" rtl="0" eaLnBrk="1" fontAlgn="base" hangingPunct="1">
        <a:spcBef>
          <a:spcPct val="50000"/>
        </a:spcBef>
        <a:spcAft>
          <a:spcPct val="0"/>
        </a:spcAft>
        <a:buClr>
          <a:schemeClr val="tx1"/>
        </a:buClr>
        <a:buFont typeface="Calibri" panose="020F0502020204030204" pitchFamily="34" charset="0"/>
        <a:buChar char="▫"/>
        <a:defRPr sz="1400">
          <a:solidFill>
            <a:schemeClr val="tx1"/>
          </a:solidFill>
          <a:latin typeface="+mj-lt"/>
        </a:defRPr>
      </a:lvl3pPr>
      <a:lvl4pPr marL="904875" indent="-219075" algn="l" rtl="0" eaLnBrk="1" fontAlgn="base" hangingPunct="1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133475" indent="-219075" algn="l" rtl="0" eaLnBrk="1" fontAlgn="base" hangingPunct="1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1590675" indent="-219075" algn="l" rtl="0" eaLnBrk="1" fontAlgn="base" hangingPunct="1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047875" indent="-219075" algn="l" rtl="0" eaLnBrk="1" fontAlgn="base" hangingPunct="1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505075" indent="-219075" algn="l" rtl="0" eaLnBrk="1" fontAlgn="base" hangingPunct="1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962275" indent="-219075" algn="l" rtl="0" eaLnBrk="1" fontAlgn="base" hangingPunct="1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jpeg"/><Relationship Id="rId3" Type="http://schemas.openxmlformats.org/officeDocument/2006/relationships/diagramLayout" Target="../diagrams/layout1.xml"/><Relationship Id="rId21" Type="http://schemas.openxmlformats.org/officeDocument/2006/relationships/diagramQuickStyle" Target="../diagrams/quickStyle2.xml"/><Relationship Id="rId7" Type="http://schemas.openxmlformats.org/officeDocument/2006/relationships/image" Target="../media/image4.jpe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diagramData" Target="../diagrams/data1.xml"/><Relationship Id="rId16" Type="http://schemas.openxmlformats.org/officeDocument/2006/relationships/image" Target="../media/image13.png"/><Relationship Id="rId20" Type="http://schemas.openxmlformats.org/officeDocument/2006/relationships/diagramLayout" Target="../diagrams/layout2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11" Type="http://schemas.openxmlformats.org/officeDocument/2006/relationships/image" Target="../media/image8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12.png"/><Relationship Id="rId23" Type="http://schemas.microsoft.com/office/2007/relationships/diagramDrawing" Target="../diagrams/drawing2.xml"/><Relationship Id="rId10" Type="http://schemas.openxmlformats.org/officeDocument/2006/relationships/image" Target="../media/image7.png"/><Relationship Id="rId19" Type="http://schemas.openxmlformats.org/officeDocument/2006/relationships/diagramData" Target="../diagrams/data2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6.png"/><Relationship Id="rId14" Type="http://schemas.openxmlformats.org/officeDocument/2006/relationships/image" Target="../media/image11.jpg"/><Relationship Id="rId22" Type="http://schemas.openxmlformats.org/officeDocument/2006/relationships/diagramColors" Target="../diagrams/colors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983434" y="2549778"/>
            <a:ext cx="624616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US" sz="2400" dirty="0"/>
              <a:t>DevOps</a:t>
            </a:r>
            <a:r>
              <a:rPr lang="en-US" sz="2400" spc="-95" dirty="0"/>
              <a:t> Posture Maturity </a:t>
            </a:r>
            <a:r>
              <a:rPr lang="en-US" sz="2400" dirty="0"/>
              <a:t>Assessment   --Pulkit.</a:t>
            </a:r>
            <a:endParaRPr sz="24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18563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/>
          <p:cNvSpPr/>
          <p:nvPr/>
        </p:nvSpPr>
        <p:spPr bwMode="auto">
          <a:xfrm>
            <a:off x="971551" y="1623468"/>
            <a:ext cx="9906000" cy="4472532"/>
          </a:xfrm>
          <a:prstGeom prst="roundRect">
            <a:avLst/>
          </a:prstGeom>
          <a:noFill/>
          <a:ln w="9525" cap="flat" cmpd="sng" algn="ctr">
            <a:solidFill>
              <a:schemeClr val="bg2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30480" rIns="60960" bIns="30480" numCol="1" rtlCol="0" anchor="t" anchorCtr="0" compatLnSpc="1">
            <a:prstTxWarp prst="textNoShape">
              <a:avLst/>
            </a:prstTxWarp>
          </a:bodyPr>
          <a:lstStyle/>
          <a:p>
            <a:pPr defTabSz="6096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33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4041" y="1193469"/>
            <a:ext cx="7497806" cy="328231"/>
          </a:xfrm>
        </p:spPr>
        <p:txBody>
          <a:bodyPr/>
          <a:lstStyle/>
          <a:p>
            <a:r>
              <a:rPr lang="en-US" sz="2133" dirty="0"/>
              <a:t>DevSecOps - CI process with Security check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2084968" y="1694408"/>
          <a:ext cx="7686051" cy="3717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446810" y="5514777"/>
            <a:ext cx="221191" cy="123111"/>
          </a:xfrm>
        </p:spPr>
        <p:txBody>
          <a:bodyPr/>
          <a:lstStyle/>
          <a:p>
            <a:pPr>
              <a:defRPr/>
            </a:pPr>
            <a:fld id="{51B901D1-D6F8-4F4F-A72A-71883671B0B6}" type="slidenum">
              <a:rPr lang="en-US" sz="800">
                <a:solidFill>
                  <a:srgbClr val="474747"/>
                </a:solidFill>
              </a:rPr>
              <a:pPr>
                <a:defRPr/>
              </a:pPr>
              <a:t>10</a:t>
            </a:fld>
            <a:endParaRPr lang="en-US" sz="800" dirty="0">
              <a:solidFill>
                <a:srgbClr val="474747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0966" y="4246460"/>
            <a:ext cx="1171477" cy="7801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7508" y="5061507"/>
            <a:ext cx="644379" cy="44462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228" y="1694406"/>
            <a:ext cx="1238153" cy="29096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7260" y="4029828"/>
            <a:ext cx="1188841" cy="457009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 bwMode="gray">
          <a:xfrm>
            <a:off x="2190662" y="2605545"/>
            <a:ext cx="1863635" cy="1795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1383" tIns="30692" rIns="61383" bIns="30692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90500" indent="-190500">
              <a:spcBef>
                <a:spcPts val="2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733" dirty="0"/>
              <a:t>Jenkins Dev  build</a:t>
            </a:r>
          </a:p>
          <a:p>
            <a:pPr marL="495300" lvl="1" indent="-190500">
              <a:spcBef>
                <a:spcPts val="2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733" dirty="0"/>
              <a:t>Binary built in Jenkins and copied to File server</a:t>
            </a:r>
          </a:p>
          <a:p>
            <a:pPr marL="495300" lvl="1" indent="-190500">
              <a:spcBef>
                <a:spcPts val="2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733" dirty="0"/>
              <a:t>Docker script creates the </a:t>
            </a:r>
            <a:r>
              <a:rPr lang="en-US" sz="733" dirty="0" err="1"/>
              <a:t>docker</a:t>
            </a:r>
            <a:r>
              <a:rPr lang="en-US" sz="733" dirty="0"/>
              <a:t> image</a:t>
            </a:r>
          </a:p>
          <a:p>
            <a:pPr marL="190500" indent="-190500">
              <a:spcBef>
                <a:spcPts val="2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733" dirty="0"/>
              <a:t>Jenkins – Deploy  (By Developer)</a:t>
            </a:r>
          </a:p>
          <a:p>
            <a:pPr marL="495300" lvl="1" indent="-190500">
              <a:spcBef>
                <a:spcPts val="2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733" dirty="0"/>
              <a:t>Deploys on the target </a:t>
            </a:r>
            <a:r>
              <a:rPr lang="en-US" sz="733" dirty="0" err="1"/>
              <a:t>env</a:t>
            </a:r>
            <a:r>
              <a:rPr lang="en-US" sz="733" dirty="0"/>
              <a:t> – Dev</a:t>
            </a:r>
          </a:p>
          <a:p>
            <a:pPr marL="190500" indent="-190500">
              <a:spcBef>
                <a:spcPts val="2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733" dirty="0">
                <a:solidFill>
                  <a:srgbClr val="474747"/>
                </a:solidFill>
              </a:rPr>
              <a:t>Jenkins – Deploy (By Dev Ops)</a:t>
            </a:r>
          </a:p>
          <a:p>
            <a:pPr marL="495300" lvl="1" indent="-190500">
              <a:spcBef>
                <a:spcPts val="2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r>
              <a:rPr lang="en-US" sz="733" dirty="0">
                <a:solidFill>
                  <a:srgbClr val="474747"/>
                </a:solidFill>
              </a:rPr>
              <a:t>Pre-built Dev Image deployed to target environment</a:t>
            </a:r>
          </a:p>
          <a:p>
            <a:pPr lvl="0"/>
            <a:endParaRPr lang="en-US" sz="700" dirty="0"/>
          </a:p>
          <a:p>
            <a:pPr lvl="1"/>
            <a:endParaRPr lang="en-US" sz="600" dirty="0"/>
          </a:p>
          <a:p>
            <a:pPr marL="190500" indent="-190500">
              <a:spcBef>
                <a:spcPts val="200"/>
              </a:spcBef>
              <a:buClr>
                <a:srgbClr val="0081C6"/>
              </a:buClr>
              <a:buSzPct val="80000"/>
              <a:buFont typeface="Wingdings" panose="05000000000000000000" pitchFamily="2" charset="2"/>
              <a:buChar char="n"/>
            </a:pPr>
            <a:endParaRPr lang="en-US" sz="733" dirty="0">
              <a:solidFill>
                <a:srgbClr val="474747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922" y="2556687"/>
            <a:ext cx="1799743" cy="53992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83281" y="1712216"/>
            <a:ext cx="729161" cy="57007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920" y="1623468"/>
            <a:ext cx="531404" cy="588517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0291" y="1716291"/>
            <a:ext cx="881743" cy="342900"/>
          </a:xfrm>
          <a:prstGeom prst="rect">
            <a:avLst/>
          </a:prstGeom>
        </p:spPr>
      </p:pic>
      <p:sp>
        <p:nvSpPr>
          <p:cNvPr id="23" name="AutoShape 6" descr="Image result for CONTINUOUS INTEGRATION"/>
          <p:cNvSpPr>
            <a:spLocks noChangeAspect="1" noChangeArrowheads="1"/>
          </p:cNvSpPr>
          <p:nvPr/>
        </p:nvSpPr>
        <p:spPr bwMode="auto">
          <a:xfrm>
            <a:off x="1627717" y="1046693"/>
            <a:ext cx="203200" cy="203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8178" y="3180289"/>
            <a:ext cx="1627051" cy="71740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887259" y="3718018"/>
            <a:ext cx="1175352" cy="37359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424142" y="5084415"/>
            <a:ext cx="537492" cy="415205"/>
          </a:xfrm>
          <a:prstGeom prst="rect">
            <a:avLst/>
          </a:prstGeom>
        </p:spPr>
      </p:pic>
      <p:pic>
        <p:nvPicPr>
          <p:cNvPr id="10242" name="Picture 2" descr="Image result for synopsys coverity logo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6808" y="4919845"/>
            <a:ext cx="820134" cy="237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B5E6C55-4E22-4729-A023-4A77F11924B4}"/>
              </a:ext>
            </a:extLst>
          </p:cNvPr>
          <p:cNvSpPr/>
          <p:nvPr/>
        </p:nvSpPr>
        <p:spPr bwMode="auto">
          <a:xfrm>
            <a:off x="6407151" y="1712216"/>
            <a:ext cx="3617919" cy="314553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30480" rIns="60960" bIns="30480" numCol="1" rtlCol="0" anchor="t" anchorCtr="0" compatLnSpc="1">
            <a:prstTxWarp prst="textNoShape">
              <a:avLst/>
            </a:prstTxWarp>
          </a:bodyPr>
          <a:lstStyle/>
          <a:p>
            <a:pPr defTabSz="60963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33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graphicFrame>
        <p:nvGraphicFramePr>
          <p:cNvPr id="24" name="Content Placeholder 5">
            <a:extLst>
              <a:ext uri="{FF2B5EF4-FFF2-40B4-BE49-F238E27FC236}">
                <a16:creationId xmlns:a16="http://schemas.microsoft.com/office/drawing/2014/main" id="{2DF4A9D4-0458-439C-B27B-A820533FA327}"/>
              </a:ext>
            </a:extLst>
          </p:cNvPr>
          <p:cNvGraphicFramePr>
            <a:graphicFrameLocks/>
          </p:cNvGraphicFramePr>
          <p:nvPr/>
        </p:nvGraphicFramePr>
        <p:xfrm>
          <a:off x="2088571" y="1694408"/>
          <a:ext cx="7686051" cy="3717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</p:spTree>
    <p:extLst>
      <p:ext uri="{BB962C8B-B14F-4D97-AF65-F5344CB8AC3E}">
        <p14:creationId xmlns:p14="http://schemas.microsoft.com/office/powerpoint/2010/main" val="39707980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0080" y="219684"/>
            <a:ext cx="8470900" cy="615553"/>
          </a:xfrm>
        </p:spPr>
        <p:txBody>
          <a:bodyPr/>
          <a:lstStyle/>
          <a:p>
            <a:r>
              <a:rPr lang="en-US" dirty="0"/>
              <a:t>DevSecOps - Continuous security validation to CI/CD pipeline – Industry Recommendat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870080" y="1857104"/>
            <a:ext cx="3381191" cy="464271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evSecOps incorporates the security team and their capabilities into the DevOps practices making security a responsibility of everyone on the team</a:t>
            </a:r>
          </a:p>
          <a:p>
            <a:pPr marL="0" indent="0">
              <a:buNone/>
            </a:pPr>
            <a:r>
              <a:rPr lang="en-US" dirty="0"/>
              <a:t>Security needs to shift from an afterthought to being evaluated at every step of the process. </a:t>
            </a:r>
          </a:p>
          <a:p>
            <a:pPr marL="0" indent="0">
              <a:buNone/>
            </a:pPr>
            <a:r>
              <a:rPr lang="en-US" dirty="0"/>
              <a:t>Securing applications is a continuous process that encompasses secure infrastructure, designing an architecture with layered security, continuous security validation, and monitoring for attacks.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19980A-B1E7-47B0-A533-8276885B9457}" type="slidenum">
              <a:rPr lang="en-US" smtClean="0">
                <a:solidFill>
                  <a:srgbClr val="474747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dirty="0">
              <a:solidFill>
                <a:srgbClr val="474747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154" y="1593813"/>
            <a:ext cx="5191856" cy="2900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1907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027" y="219684"/>
            <a:ext cx="9429748" cy="989992"/>
          </a:xfrm>
        </p:spPr>
        <p:txBody>
          <a:bodyPr/>
          <a:lstStyle/>
          <a:p>
            <a:r>
              <a:rPr lang="en-US" dirty="0"/>
              <a:t>Issues and Pain points – Can be addresse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962026" y="971551"/>
            <a:ext cx="10896600" cy="485775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1) Selection of Version Control Tool</a:t>
            </a:r>
          </a:p>
          <a:p>
            <a:pPr marL="0" indent="0">
              <a:buNone/>
            </a:pPr>
            <a:r>
              <a:rPr lang="en-US" dirty="0"/>
              <a:t>2) Branching strategy/tagging and code syncing  (Major Issue)</a:t>
            </a:r>
          </a:p>
          <a:p>
            <a:pPr marL="0" indent="0" algn="l">
              <a:buNone/>
            </a:pPr>
            <a:r>
              <a:rPr lang="en-US" dirty="0">
                <a:solidFill>
                  <a:srgbClr val="222C3A"/>
                </a:solidFill>
                <a:latin typeface="Roboto" panose="02000000000000000000" pitchFamily="2" charset="0"/>
              </a:rPr>
              <a:t>3)  </a:t>
            </a:r>
            <a:r>
              <a:rPr lang="en-US" b="0" i="0" u="none" strike="noStrike" dirty="0">
                <a:solidFill>
                  <a:srgbClr val="222C3A"/>
                </a:solidFill>
                <a:effectLst/>
                <a:latin typeface="Roboto" panose="02000000000000000000" pitchFamily="2" charset="0"/>
              </a:rPr>
              <a:t>Moving from Traditional Infrastructure to Microservices</a:t>
            </a:r>
            <a:endParaRPr lang="en-US" dirty="0">
              <a:solidFill>
                <a:srgbClr val="334960"/>
              </a:solidFill>
              <a:latin typeface="Roboto" panose="02000000000000000000" pitchFamily="2" charset="0"/>
            </a:endParaRPr>
          </a:p>
          <a:p>
            <a:pPr marL="0" indent="0" algn="l">
              <a:buNone/>
            </a:pPr>
            <a:r>
              <a:rPr lang="en-US" b="0" i="0" u="none" strike="noStrike" dirty="0">
                <a:solidFill>
                  <a:srgbClr val="334960"/>
                </a:solidFill>
                <a:effectLst/>
                <a:latin typeface="Roboto" panose="02000000000000000000" pitchFamily="2" charset="0"/>
              </a:rPr>
              <a:t>4) </a:t>
            </a:r>
            <a:r>
              <a:rPr lang="en-US" b="0" i="0" u="none" strike="noStrike" dirty="0">
                <a:solidFill>
                  <a:srgbClr val="222C3A"/>
                </a:solidFill>
                <a:effectLst/>
                <a:latin typeface="Roboto" panose="02000000000000000000" pitchFamily="2" charset="0"/>
              </a:rPr>
              <a:t> Integrating Tools of Different Domains</a:t>
            </a:r>
            <a:endParaRPr lang="en-US" b="0" i="0" dirty="0">
              <a:solidFill>
                <a:srgbClr val="334960"/>
              </a:solidFill>
              <a:effectLst/>
              <a:latin typeface="Roboto" panose="02000000000000000000" pitchFamily="2" charset="0"/>
            </a:endParaRPr>
          </a:p>
          <a:p>
            <a:pPr marL="0" indent="0" algn="l">
              <a:buNone/>
            </a:pPr>
            <a:r>
              <a:rPr lang="en-US" dirty="0">
                <a:solidFill>
                  <a:srgbClr val="222C3A"/>
                </a:solidFill>
                <a:latin typeface="Roboto" panose="02000000000000000000" pitchFamily="2" charset="0"/>
              </a:rPr>
              <a:t>5) </a:t>
            </a:r>
            <a:r>
              <a:rPr lang="en-US" b="0" i="0" u="none" strike="noStrike" dirty="0">
                <a:solidFill>
                  <a:srgbClr val="222C3A"/>
                </a:solidFill>
                <a:effectLst/>
                <a:latin typeface="Roboto" panose="02000000000000000000" pitchFamily="2" charset="0"/>
              </a:rPr>
              <a:t>Changing Well Defined Processes to More Efficient Ones</a:t>
            </a:r>
            <a:endParaRPr lang="en-US" b="0" i="0" dirty="0">
              <a:solidFill>
                <a:srgbClr val="334960"/>
              </a:solidFill>
              <a:effectLst/>
              <a:latin typeface="Roboto" panose="02000000000000000000" pitchFamily="2" charset="0"/>
            </a:endParaRPr>
          </a:p>
          <a:p>
            <a:pPr marL="0" indent="0" algn="l">
              <a:buNone/>
            </a:pPr>
            <a:r>
              <a:rPr lang="en-US" dirty="0">
                <a:solidFill>
                  <a:srgbClr val="222C3A"/>
                </a:solidFill>
                <a:latin typeface="Roboto" panose="02000000000000000000" pitchFamily="2" charset="0"/>
              </a:rPr>
              <a:t>6) </a:t>
            </a:r>
            <a:r>
              <a:rPr lang="en-US" b="0" i="0" u="none" strike="noStrike" dirty="0">
                <a:solidFill>
                  <a:srgbClr val="222C3A"/>
                </a:solidFill>
                <a:effectLst/>
                <a:latin typeface="Roboto" panose="02000000000000000000" pitchFamily="2" charset="0"/>
              </a:rPr>
              <a:t>Separate Tools Set for Dev and Ops Team</a:t>
            </a:r>
            <a:endParaRPr lang="en-US" dirty="0">
              <a:solidFill>
                <a:srgbClr val="334960"/>
              </a:solidFill>
              <a:latin typeface="Roboto" panose="02000000000000000000" pitchFamily="2" charset="0"/>
            </a:endParaRPr>
          </a:p>
          <a:p>
            <a:pPr marL="0" indent="0" algn="l">
              <a:buNone/>
            </a:pPr>
            <a:r>
              <a:rPr lang="en-US" b="0" i="0" u="none" strike="noStrike" dirty="0">
                <a:solidFill>
                  <a:srgbClr val="334960"/>
                </a:solidFill>
                <a:effectLst/>
                <a:latin typeface="Roboto" panose="02000000000000000000" pitchFamily="2" charset="0"/>
              </a:rPr>
              <a:t>7) </a:t>
            </a:r>
            <a:r>
              <a:rPr lang="en-US" b="0" i="0" u="none" strike="noStrike" dirty="0">
                <a:solidFill>
                  <a:srgbClr val="222C3A"/>
                </a:solidFill>
                <a:effectLst/>
                <a:latin typeface="Roboto" panose="02000000000000000000" pitchFamily="2" charset="0"/>
              </a:rPr>
              <a:t>Adoption of New Tools</a:t>
            </a:r>
            <a:endParaRPr lang="en-US" b="0" i="0" dirty="0">
              <a:solidFill>
                <a:srgbClr val="334960"/>
              </a:solidFill>
              <a:effectLst/>
              <a:latin typeface="Roboto" panose="02000000000000000000" pitchFamily="2" charset="0"/>
            </a:endParaRPr>
          </a:p>
          <a:p>
            <a:pPr marL="0" indent="0" algn="l">
              <a:buNone/>
            </a:pPr>
            <a:r>
              <a:rPr lang="en-US" dirty="0">
                <a:solidFill>
                  <a:srgbClr val="222C3A"/>
                </a:solidFill>
                <a:latin typeface="Roboto" panose="02000000000000000000" pitchFamily="2" charset="0"/>
              </a:rPr>
              <a:t>8) </a:t>
            </a:r>
            <a:r>
              <a:rPr lang="en-US" b="0" i="0" u="none" strike="noStrike" dirty="0">
                <a:solidFill>
                  <a:srgbClr val="222C3A"/>
                </a:solidFill>
                <a:effectLst/>
                <a:latin typeface="Roboto" panose="02000000000000000000" pitchFamily="2" charset="0"/>
              </a:rPr>
              <a:t>Resistance to Change</a:t>
            </a:r>
            <a:endParaRPr lang="en-US" b="0" i="0" dirty="0">
              <a:solidFill>
                <a:srgbClr val="334960"/>
              </a:solidFill>
              <a:effectLst/>
              <a:latin typeface="Roboto" panose="02000000000000000000" pitchFamily="2" charset="0"/>
            </a:endParaRPr>
          </a:p>
          <a:p>
            <a:pPr marL="0" indent="0">
              <a:buNone/>
            </a:pPr>
            <a:r>
              <a:rPr lang="en-US" dirty="0">
                <a:solidFill>
                  <a:srgbClr val="334960"/>
                </a:solidFill>
                <a:latin typeface="Roboto" panose="02000000000000000000" pitchFamily="2" charset="0"/>
              </a:rPr>
              <a:t>9)  </a:t>
            </a:r>
            <a:r>
              <a:rPr lang="en-US" dirty="0"/>
              <a:t>A few interfacing products are not aligned to the overall agile processes and takes time to deliver changes resulting into delay in plan – need basi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19980A-B1E7-47B0-A533-8276885B9457}" type="slidenum">
              <a:rPr lang="en-US" smtClean="0">
                <a:solidFill>
                  <a:srgbClr val="474747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 dirty="0">
              <a:solidFill>
                <a:srgbClr val="4747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092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45440" y="529396"/>
            <a:ext cx="5487797" cy="633507"/>
          </a:xfrm>
          <a:prstGeom prst="rect">
            <a:avLst/>
          </a:prstGeom>
        </p:spPr>
        <p:txBody>
          <a:bodyPr vert="horz" wrap="square" lIns="0" tIns="81280" rIns="0" bIns="0" rtlCol="0">
            <a:spAutoFit/>
          </a:bodyPr>
          <a:lstStyle/>
          <a:p>
            <a:pPr marL="12700" marR="5080">
              <a:lnSpc>
                <a:spcPts val="4320"/>
              </a:lnSpc>
              <a:spcBef>
                <a:spcPts val="640"/>
              </a:spcBef>
            </a:pPr>
            <a:r>
              <a:rPr sz="4000" spc="-165" dirty="0"/>
              <a:t>Benefits</a:t>
            </a:r>
            <a:endParaRPr sz="4000" dirty="0"/>
          </a:p>
        </p:txBody>
      </p:sp>
      <p:sp>
        <p:nvSpPr>
          <p:cNvPr id="3" name="object 3"/>
          <p:cNvSpPr txBox="1"/>
          <p:nvPr/>
        </p:nvSpPr>
        <p:spPr>
          <a:xfrm>
            <a:off x="393598" y="3247390"/>
            <a:ext cx="1907539" cy="1660070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564515" marR="450850" indent="-35560">
              <a:lnSpc>
                <a:spcPts val="1939"/>
              </a:lnSpc>
              <a:spcBef>
                <a:spcPts val="345"/>
              </a:spcBef>
            </a:pPr>
            <a:r>
              <a:rPr sz="1800" b="1" spc="-90" dirty="0">
                <a:solidFill>
                  <a:srgbClr val="282828"/>
                </a:solidFill>
                <a:latin typeface="Lucida Sans"/>
                <a:cs typeface="Lucida Sans"/>
              </a:rPr>
              <a:t>Red</a:t>
            </a:r>
            <a:r>
              <a:rPr sz="1800" b="1" spc="-85" dirty="0">
                <a:solidFill>
                  <a:srgbClr val="282828"/>
                </a:solidFill>
                <a:latin typeface="Lucida Sans"/>
                <a:cs typeface="Lucida Sans"/>
              </a:rPr>
              <a:t>uced  </a:t>
            </a:r>
            <a:r>
              <a:rPr sz="1800" b="1" spc="-105" dirty="0">
                <a:solidFill>
                  <a:srgbClr val="282828"/>
                </a:solidFill>
                <a:latin typeface="Lucida Sans"/>
                <a:cs typeface="Lucida Sans"/>
              </a:rPr>
              <a:t>outages</a:t>
            </a:r>
            <a:endParaRPr sz="1800" dirty="0">
              <a:latin typeface="Lucida Sans"/>
              <a:cs typeface="Lucida Sans"/>
            </a:endParaRPr>
          </a:p>
          <a:p>
            <a:pPr marL="129539" marR="118745" algn="ctr">
              <a:lnSpc>
                <a:spcPts val="1510"/>
              </a:lnSpc>
              <a:spcBef>
                <a:spcPts val="1250"/>
              </a:spcBef>
            </a:pPr>
            <a:r>
              <a:rPr sz="1400" spc="-15" dirty="0">
                <a:solidFill>
                  <a:srgbClr val="222E3D"/>
                </a:solidFill>
                <a:latin typeface="Lucida Sans"/>
                <a:cs typeface="Lucida Sans"/>
              </a:rPr>
              <a:t>I</a:t>
            </a:r>
            <a:r>
              <a:rPr sz="1400" spc="-60" dirty="0">
                <a:solidFill>
                  <a:srgbClr val="222E3D"/>
                </a:solidFill>
                <a:latin typeface="Lucida Sans"/>
                <a:cs typeface="Lucida Sans"/>
              </a:rPr>
              <a:t>nc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rea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ed</a:t>
            </a:r>
            <a:r>
              <a:rPr sz="1400" spc="-12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aw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a</a:t>
            </a:r>
            <a:r>
              <a:rPr sz="1400" spc="-35" dirty="0">
                <a:solidFill>
                  <a:srgbClr val="222E3D"/>
                </a:solidFill>
                <a:latin typeface="Lucida Sans"/>
                <a:cs typeface="Lucida Sans"/>
              </a:rPr>
              <a:t>r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ene</a:t>
            </a:r>
            <a:r>
              <a:rPr sz="1400" spc="-12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80" dirty="0">
                <a:solidFill>
                  <a:srgbClr val="222E3D"/>
                </a:solidFill>
                <a:latin typeface="Lucida Sans"/>
                <a:cs typeface="Lucida Sans"/>
              </a:rPr>
              <a:t>s  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of</a:t>
            </a:r>
            <a:r>
              <a:rPr sz="1400" spc="-9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scheduled</a:t>
            </a:r>
            <a:endParaRPr sz="1400" dirty="0">
              <a:latin typeface="Lucida Sans"/>
              <a:cs typeface="Lucida Sans"/>
            </a:endParaRPr>
          </a:p>
          <a:p>
            <a:pPr marL="12065" marR="5080" algn="ctr">
              <a:lnSpc>
                <a:spcPts val="1510"/>
              </a:lnSpc>
              <a:spcBef>
                <a:spcPts val="5"/>
              </a:spcBef>
            </a:pPr>
            <a:r>
              <a:rPr sz="1400" spc="-65" dirty="0">
                <a:solidFill>
                  <a:srgbClr val="222E3D"/>
                </a:solidFill>
                <a:latin typeface="Lucida Sans"/>
                <a:cs typeface="Lucida Sans"/>
              </a:rPr>
              <a:t>m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ai</a:t>
            </a:r>
            <a:r>
              <a:rPr sz="1400" spc="-15" dirty="0">
                <a:solidFill>
                  <a:srgbClr val="222E3D"/>
                </a:solidFill>
                <a:latin typeface="Lucida Sans"/>
                <a:cs typeface="Lucida Sans"/>
              </a:rPr>
              <a:t>nt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en</a:t>
            </a:r>
            <a:r>
              <a:rPr sz="1400" spc="-35" dirty="0">
                <a:solidFill>
                  <a:srgbClr val="222E3D"/>
                </a:solidFill>
                <a:latin typeface="Lucida Sans"/>
                <a:cs typeface="Lucida Sans"/>
              </a:rPr>
              <a:t>a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nce</a:t>
            </a:r>
            <a:r>
              <a:rPr sz="1400" spc="-10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60" dirty="0">
                <a:solidFill>
                  <a:srgbClr val="222E3D"/>
                </a:solidFill>
                <a:latin typeface="Lucida Sans"/>
                <a:cs typeface="Lucida Sans"/>
              </a:rPr>
              <a:t>i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70" dirty="0">
                <a:solidFill>
                  <a:srgbClr val="222E3D"/>
                </a:solidFill>
                <a:latin typeface="Lucida Sans"/>
                <a:cs typeface="Lucida Sans"/>
              </a:rPr>
              <a:t>ues</a:t>
            </a:r>
            <a:r>
              <a:rPr sz="1400" spc="-13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lang="en-US" sz="1400" spc="-45" dirty="0">
                <a:solidFill>
                  <a:srgbClr val="222E3D"/>
                </a:solidFill>
                <a:latin typeface="Lucida Sans"/>
                <a:cs typeface="Lucida Sans"/>
              </a:rPr>
              <a:t>can be 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r</a:t>
            </a:r>
            <a:r>
              <a:rPr sz="1400" spc="-80" dirty="0">
                <a:solidFill>
                  <a:srgbClr val="222E3D"/>
                </a:solidFill>
                <a:latin typeface="Lucida Sans"/>
                <a:cs typeface="Lucida Sans"/>
              </a:rPr>
              <a:t>e</a:t>
            </a:r>
            <a:r>
              <a:rPr sz="1400" spc="-65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u</a:t>
            </a:r>
            <a:r>
              <a:rPr sz="1400" spc="-35" dirty="0">
                <a:solidFill>
                  <a:srgbClr val="222E3D"/>
                </a:solidFill>
                <a:latin typeface="Lucida Sans"/>
                <a:cs typeface="Lucida Sans"/>
              </a:rPr>
              <a:t>l</a:t>
            </a:r>
            <a:r>
              <a:rPr sz="1400" spc="-30" dirty="0">
                <a:solidFill>
                  <a:srgbClr val="222E3D"/>
                </a:solidFill>
                <a:latin typeface="Lucida Sans"/>
                <a:cs typeface="Lucida Sans"/>
              </a:rPr>
              <a:t>ted</a:t>
            </a:r>
            <a:r>
              <a:rPr sz="1400" spc="-12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in</a:t>
            </a:r>
            <a:r>
              <a:rPr sz="1400" spc="-7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r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educed  </a:t>
            </a:r>
            <a:r>
              <a:rPr sz="1400" spc="-25" dirty="0">
                <a:solidFill>
                  <a:srgbClr val="222E3D"/>
                </a:solidFill>
                <a:latin typeface="Lucida Sans"/>
                <a:cs typeface="Lucida Sans"/>
              </a:rPr>
              <a:t>a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v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oida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b</a:t>
            </a:r>
            <a:r>
              <a:rPr sz="1400" spc="-30" dirty="0">
                <a:solidFill>
                  <a:srgbClr val="222E3D"/>
                </a:solidFill>
                <a:latin typeface="Lucida Sans"/>
                <a:cs typeface="Lucida Sans"/>
              </a:rPr>
              <a:t>l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e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35" dirty="0">
                <a:solidFill>
                  <a:srgbClr val="222E3D"/>
                </a:solidFill>
                <a:latin typeface="Lucida Sans"/>
                <a:cs typeface="Lucida Sans"/>
              </a:rPr>
              <a:t>outa</a:t>
            </a:r>
            <a:r>
              <a:rPr sz="1400" spc="-70" dirty="0">
                <a:solidFill>
                  <a:srgbClr val="222E3D"/>
                </a:solidFill>
                <a:latin typeface="Lucida Sans"/>
                <a:cs typeface="Lucida Sans"/>
              </a:rPr>
              <a:t>ges</a:t>
            </a:r>
            <a:endParaRPr sz="1400" dirty="0">
              <a:latin typeface="Lucida Sans"/>
              <a:cs typeface="Lucida Sans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970673" y="2247773"/>
            <a:ext cx="782320" cy="889635"/>
            <a:chOff x="970673" y="2247773"/>
            <a:chExt cx="782320" cy="889635"/>
          </a:xfrm>
        </p:grpSpPr>
        <p:sp>
          <p:nvSpPr>
            <p:cNvPr id="5" name="object 5"/>
            <p:cNvSpPr/>
            <p:nvPr/>
          </p:nvSpPr>
          <p:spPr>
            <a:xfrm>
              <a:off x="1119212" y="2399411"/>
              <a:ext cx="485140" cy="558800"/>
            </a:xfrm>
            <a:custGeom>
              <a:avLst/>
              <a:gdLst/>
              <a:ahLst/>
              <a:cxnLst/>
              <a:rect l="l" t="t" r="r" b="b"/>
              <a:pathLst>
                <a:path w="485140" h="558800">
                  <a:moveTo>
                    <a:pt x="484924" y="242315"/>
                  </a:moveTo>
                  <a:lnTo>
                    <a:pt x="480007" y="193435"/>
                  </a:lnTo>
                  <a:lnTo>
                    <a:pt x="465901" y="147929"/>
                  </a:lnTo>
                  <a:lnTo>
                    <a:pt x="443575" y="106765"/>
                  </a:lnTo>
                  <a:lnTo>
                    <a:pt x="413994" y="70913"/>
                  </a:lnTo>
                  <a:lnTo>
                    <a:pt x="378127" y="41342"/>
                  </a:lnTo>
                  <a:lnTo>
                    <a:pt x="336941" y="19020"/>
                  </a:lnTo>
                  <a:lnTo>
                    <a:pt x="291403" y="4916"/>
                  </a:lnTo>
                  <a:lnTo>
                    <a:pt x="242481" y="0"/>
                  </a:lnTo>
                  <a:lnTo>
                    <a:pt x="193557" y="4916"/>
                  </a:lnTo>
                  <a:lnTo>
                    <a:pt x="148014" y="19020"/>
                  </a:lnTo>
                  <a:lnTo>
                    <a:pt x="106822" y="41342"/>
                  </a:lnTo>
                  <a:lnTo>
                    <a:pt x="70948" y="70913"/>
                  </a:lnTo>
                  <a:lnTo>
                    <a:pt x="41360" y="106765"/>
                  </a:lnTo>
                  <a:lnTo>
                    <a:pt x="19028" y="147929"/>
                  </a:lnTo>
                  <a:lnTo>
                    <a:pt x="4918" y="193435"/>
                  </a:lnTo>
                  <a:lnTo>
                    <a:pt x="0" y="242315"/>
                  </a:lnTo>
                  <a:lnTo>
                    <a:pt x="4546" y="289267"/>
                  </a:lnTo>
                  <a:lnTo>
                    <a:pt x="17608" y="333153"/>
                  </a:lnTo>
                  <a:lnTo>
                    <a:pt x="38320" y="373110"/>
                  </a:lnTo>
                  <a:lnTo>
                    <a:pt x="65817" y="408272"/>
                  </a:lnTo>
                  <a:lnTo>
                    <a:pt x="99234" y="437775"/>
                  </a:lnTo>
                  <a:lnTo>
                    <a:pt x="137706" y="460755"/>
                  </a:lnTo>
                  <a:lnTo>
                    <a:pt x="137706" y="558291"/>
                  </a:lnTo>
                  <a:lnTo>
                    <a:pt x="347256" y="558291"/>
                  </a:lnTo>
                  <a:lnTo>
                    <a:pt x="347256" y="460755"/>
                  </a:lnTo>
                  <a:lnTo>
                    <a:pt x="385720" y="437775"/>
                  </a:lnTo>
                  <a:lnTo>
                    <a:pt x="419128" y="408272"/>
                  </a:lnTo>
                  <a:lnTo>
                    <a:pt x="446617" y="373110"/>
                  </a:lnTo>
                  <a:lnTo>
                    <a:pt x="467322" y="333153"/>
                  </a:lnTo>
                  <a:lnTo>
                    <a:pt x="480379" y="289267"/>
                  </a:lnTo>
                  <a:lnTo>
                    <a:pt x="484924" y="242315"/>
                  </a:lnTo>
                  <a:close/>
                </a:path>
                <a:path w="485140" h="558800">
                  <a:moveTo>
                    <a:pt x="242481" y="558673"/>
                  </a:moveTo>
                  <a:lnTo>
                    <a:pt x="242481" y="342900"/>
                  </a:lnTo>
                </a:path>
                <a:path w="485140" h="558800">
                  <a:moveTo>
                    <a:pt x="188887" y="339978"/>
                  </a:moveTo>
                  <a:lnTo>
                    <a:pt x="296075" y="339978"/>
                  </a:lnTo>
                </a:path>
              </a:pathLst>
            </a:custGeom>
            <a:ln w="19812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80579" y="2257679"/>
              <a:ext cx="762635" cy="541020"/>
            </a:xfrm>
            <a:custGeom>
              <a:avLst/>
              <a:gdLst/>
              <a:ahLst/>
              <a:cxnLst/>
              <a:rect l="l" t="t" r="r" b="b"/>
              <a:pathLst>
                <a:path w="762635" h="541019">
                  <a:moveTo>
                    <a:pt x="264185" y="98679"/>
                  </a:moveTo>
                  <a:lnTo>
                    <a:pt x="223888" y="0"/>
                  </a:lnTo>
                </a:path>
                <a:path w="762635" h="541019">
                  <a:moveTo>
                    <a:pt x="0" y="540512"/>
                  </a:moveTo>
                  <a:lnTo>
                    <a:pt x="99250" y="498475"/>
                  </a:lnTo>
                </a:path>
                <a:path w="762635" h="541019">
                  <a:moveTo>
                    <a:pt x="662927" y="264160"/>
                  </a:moveTo>
                  <a:lnTo>
                    <a:pt x="762241" y="223900"/>
                  </a:lnTo>
                </a:path>
                <a:path w="762635" h="541019">
                  <a:moveTo>
                    <a:pt x="0" y="223900"/>
                  </a:moveTo>
                  <a:lnTo>
                    <a:pt x="99250" y="264795"/>
                  </a:lnTo>
                </a:path>
                <a:path w="762635" h="541019">
                  <a:moveTo>
                    <a:pt x="662927" y="499745"/>
                  </a:moveTo>
                  <a:lnTo>
                    <a:pt x="762241" y="540004"/>
                  </a:lnTo>
                </a:path>
                <a:path w="762635" h="541019">
                  <a:moveTo>
                    <a:pt x="498208" y="98679"/>
                  </a:moveTo>
                  <a:lnTo>
                    <a:pt x="538467" y="0"/>
                  </a:lnTo>
                </a:path>
              </a:pathLst>
            </a:custGeom>
            <a:ln w="19812">
              <a:solidFill>
                <a:srgbClr val="527E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256411" y="2983230"/>
              <a:ext cx="210820" cy="144145"/>
            </a:xfrm>
            <a:custGeom>
              <a:avLst/>
              <a:gdLst/>
              <a:ahLst/>
              <a:cxnLst/>
              <a:rect l="l" t="t" r="r" b="b"/>
              <a:pathLst>
                <a:path w="210819" h="144144">
                  <a:moveTo>
                    <a:pt x="199008" y="31750"/>
                  </a:moveTo>
                  <a:lnTo>
                    <a:pt x="11429" y="31750"/>
                  </a:lnTo>
                  <a:lnTo>
                    <a:pt x="4813" y="31750"/>
                  </a:lnTo>
                  <a:lnTo>
                    <a:pt x="0" y="26162"/>
                  </a:lnTo>
                  <a:lnTo>
                    <a:pt x="0" y="20066"/>
                  </a:lnTo>
                  <a:lnTo>
                    <a:pt x="0" y="11557"/>
                  </a:lnTo>
                  <a:lnTo>
                    <a:pt x="0" y="4825"/>
                  </a:lnTo>
                  <a:lnTo>
                    <a:pt x="5410" y="0"/>
                  </a:lnTo>
                  <a:lnTo>
                    <a:pt x="11429" y="0"/>
                  </a:lnTo>
                  <a:lnTo>
                    <a:pt x="198500" y="0"/>
                  </a:lnTo>
                  <a:lnTo>
                    <a:pt x="205104" y="0"/>
                  </a:lnTo>
                  <a:lnTo>
                    <a:pt x="209930" y="5461"/>
                  </a:lnTo>
                  <a:lnTo>
                    <a:pt x="209930" y="11557"/>
                  </a:lnTo>
                  <a:lnTo>
                    <a:pt x="209930" y="20066"/>
                  </a:lnTo>
                  <a:lnTo>
                    <a:pt x="210438" y="26162"/>
                  </a:lnTo>
                  <a:lnTo>
                    <a:pt x="205104" y="31750"/>
                  </a:lnTo>
                  <a:lnTo>
                    <a:pt x="199008" y="31750"/>
                  </a:lnTo>
                  <a:close/>
                </a:path>
                <a:path w="210819" h="144144">
                  <a:moveTo>
                    <a:pt x="199008" y="88137"/>
                  </a:moveTo>
                  <a:lnTo>
                    <a:pt x="11429" y="88137"/>
                  </a:lnTo>
                  <a:lnTo>
                    <a:pt x="4813" y="88137"/>
                  </a:lnTo>
                  <a:lnTo>
                    <a:pt x="0" y="82550"/>
                  </a:lnTo>
                  <a:lnTo>
                    <a:pt x="0" y="76454"/>
                  </a:lnTo>
                  <a:lnTo>
                    <a:pt x="0" y="67945"/>
                  </a:lnTo>
                  <a:lnTo>
                    <a:pt x="0" y="61214"/>
                  </a:lnTo>
                  <a:lnTo>
                    <a:pt x="5410" y="56387"/>
                  </a:lnTo>
                  <a:lnTo>
                    <a:pt x="11429" y="56387"/>
                  </a:lnTo>
                  <a:lnTo>
                    <a:pt x="198500" y="56387"/>
                  </a:lnTo>
                  <a:lnTo>
                    <a:pt x="205104" y="56387"/>
                  </a:lnTo>
                  <a:lnTo>
                    <a:pt x="209930" y="61849"/>
                  </a:lnTo>
                  <a:lnTo>
                    <a:pt x="209930" y="67945"/>
                  </a:lnTo>
                  <a:lnTo>
                    <a:pt x="209930" y="76454"/>
                  </a:lnTo>
                  <a:lnTo>
                    <a:pt x="210438" y="82550"/>
                  </a:lnTo>
                  <a:lnTo>
                    <a:pt x="205104" y="88137"/>
                  </a:lnTo>
                  <a:lnTo>
                    <a:pt x="199008" y="88137"/>
                  </a:lnTo>
                  <a:close/>
                </a:path>
                <a:path w="210819" h="144144">
                  <a:moveTo>
                    <a:pt x="137922" y="143764"/>
                  </a:moveTo>
                  <a:lnTo>
                    <a:pt x="71754" y="143764"/>
                  </a:lnTo>
                  <a:lnTo>
                    <a:pt x="54863" y="112522"/>
                  </a:lnTo>
                  <a:lnTo>
                    <a:pt x="154685" y="112522"/>
                  </a:lnTo>
                  <a:lnTo>
                    <a:pt x="137922" y="143764"/>
                  </a:lnTo>
                  <a:close/>
                </a:path>
              </a:pathLst>
            </a:custGeom>
            <a:ln w="19812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2783585" y="3247390"/>
            <a:ext cx="1845945" cy="2044791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264160" marR="293370" algn="ctr">
              <a:lnSpc>
                <a:spcPts val="1939"/>
              </a:lnSpc>
              <a:spcBef>
                <a:spcPts val="345"/>
              </a:spcBef>
            </a:pPr>
            <a:r>
              <a:rPr sz="1800" b="1" spc="-114" dirty="0">
                <a:solidFill>
                  <a:srgbClr val="282828"/>
                </a:solidFill>
                <a:latin typeface="Lucida Sans"/>
                <a:cs typeface="Lucida Sans"/>
              </a:rPr>
              <a:t>Da</a:t>
            </a:r>
            <a:r>
              <a:rPr sz="1800" b="1" spc="-50" dirty="0">
                <a:solidFill>
                  <a:srgbClr val="282828"/>
                </a:solidFill>
                <a:latin typeface="Lucida Sans"/>
                <a:cs typeface="Lucida Sans"/>
              </a:rPr>
              <a:t>ta</a:t>
            </a:r>
            <a:r>
              <a:rPr sz="1800" b="1" spc="-434" dirty="0">
                <a:solidFill>
                  <a:srgbClr val="282828"/>
                </a:solidFill>
                <a:latin typeface="Lucida Sans"/>
                <a:cs typeface="Lucida Sans"/>
              </a:rPr>
              <a:t>-</a:t>
            </a:r>
            <a:r>
              <a:rPr sz="1800" b="1" spc="-95" dirty="0">
                <a:solidFill>
                  <a:srgbClr val="282828"/>
                </a:solidFill>
                <a:latin typeface="Lucida Sans"/>
                <a:cs typeface="Lucida Sans"/>
              </a:rPr>
              <a:t>dr</a:t>
            </a:r>
            <a:r>
              <a:rPr sz="1800" b="1" spc="-75" dirty="0">
                <a:solidFill>
                  <a:srgbClr val="282828"/>
                </a:solidFill>
                <a:latin typeface="Lucida Sans"/>
                <a:cs typeface="Lucida Sans"/>
              </a:rPr>
              <a:t>iven  </a:t>
            </a:r>
            <a:r>
              <a:rPr sz="1800" b="1" spc="-135" dirty="0">
                <a:solidFill>
                  <a:srgbClr val="282828"/>
                </a:solidFill>
                <a:latin typeface="Lucida Sans"/>
                <a:cs typeface="Lucida Sans"/>
              </a:rPr>
              <a:t>discussions</a:t>
            </a:r>
            <a:endParaRPr sz="1800" dirty="0">
              <a:latin typeface="Lucida Sans"/>
              <a:cs typeface="Lucida Sans"/>
            </a:endParaRPr>
          </a:p>
          <a:p>
            <a:pPr marL="12700" marR="5080" indent="635" algn="ctr">
              <a:lnSpc>
                <a:spcPts val="1510"/>
              </a:lnSpc>
              <a:spcBef>
                <a:spcPts val="1250"/>
              </a:spcBef>
            </a:pPr>
            <a:r>
              <a:rPr sz="1400" spc="-60" dirty="0">
                <a:solidFill>
                  <a:srgbClr val="222E3D"/>
                </a:solidFill>
                <a:latin typeface="Lucida Sans"/>
                <a:cs typeface="Lucida Sans"/>
              </a:rPr>
              <a:t>Data-driven 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70" dirty="0">
                <a:solidFill>
                  <a:srgbClr val="222E3D"/>
                </a:solidFill>
                <a:latin typeface="Lucida Sans"/>
                <a:cs typeface="Lucida Sans"/>
              </a:rPr>
              <a:t>dis</a:t>
            </a:r>
            <a:r>
              <a:rPr sz="1400" spc="-90" dirty="0">
                <a:solidFill>
                  <a:srgbClr val="222E3D"/>
                </a:solidFill>
                <a:latin typeface="Lucida Sans"/>
                <a:cs typeface="Lucida Sans"/>
              </a:rPr>
              <a:t>cus</a:t>
            </a:r>
            <a:r>
              <a:rPr sz="1400" spc="-8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io</a:t>
            </a:r>
            <a:r>
              <a:rPr sz="1400" spc="-70" dirty="0">
                <a:solidFill>
                  <a:srgbClr val="222E3D"/>
                </a:solidFill>
                <a:latin typeface="Lucida Sans"/>
                <a:cs typeface="Lucida Sans"/>
              </a:rPr>
              <a:t>n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114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15" dirty="0">
                <a:solidFill>
                  <a:srgbClr val="222E3D"/>
                </a:solidFill>
                <a:latin typeface="Lucida Sans"/>
                <a:cs typeface="Lucida Sans"/>
              </a:rPr>
              <a:t>wit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h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lang="en-US" sz="1400" spc="-45" dirty="0">
                <a:solidFill>
                  <a:srgbClr val="222E3D"/>
                </a:solidFill>
                <a:latin typeface="Lucida Sans"/>
                <a:cs typeface="Lucida Sans"/>
              </a:rPr>
              <a:t>all stakeholders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lang="en-US" sz="1400" spc="-45" dirty="0">
                <a:solidFill>
                  <a:srgbClr val="222E3D"/>
                </a:solidFill>
                <a:latin typeface="Lucida Sans"/>
                <a:cs typeface="Lucida Sans"/>
              </a:rPr>
              <a:t>will</a:t>
            </a:r>
            <a:r>
              <a:rPr sz="1400" spc="-10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r</a:t>
            </a:r>
            <a:r>
              <a:rPr sz="1400" spc="-80" dirty="0">
                <a:solidFill>
                  <a:srgbClr val="222E3D"/>
                </a:solidFill>
                <a:latin typeface="Lucida Sans"/>
                <a:cs typeface="Lucida Sans"/>
              </a:rPr>
              <a:t>e</a:t>
            </a:r>
            <a:r>
              <a:rPr sz="1400" spc="-65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u</a:t>
            </a:r>
            <a:r>
              <a:rPr sz="1400" spc="-35" dirty="0">
                <a:solidFill>
                  <a:srgbClr val="222E3D"/>
                </a:solidFill>
                <a:latin typeface="Lucida Sans"/>
                <a:cs typeface="Lucida Sans"/>
              </a:rPr>
              <a:t>l</a:t>
            </a:r>
            <a:r>
              <a:rPr sz="1400" spc="-25" dirty="0">
                <a:solidFill>
                  <a:srgbClr val="222E3D"/>
                </a:solidFill>
                <a:latin typeface="Lucida Sans"/>
                <a:cs typeface="Lucida Sans"/>
              </a:rPr>
              <a:t>t 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in</a:t>
            </a:r>
            <a:r>
              <a:rPr sz="1400" spc="-8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65" dirty="0">
                <a:solidFill>
                  <a:srgbClr val="222E3D"/>
                </a:solidFill>
                <a:latin typeface="Lucida Sans"/>
                <a:cs typeface="Lucida Sans"/>
              </a:rPr>
              <a:t>m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or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e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producti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v</a:t>
            </a:r>
            <a:r>
              <a:rPr sz="1400" spc="-30" dirty="0">
                <a:solidFill>
                  <a:srgbClr val="222E3D"/>
                </a:solidFill>
                <a:latin typeface="Lucida Sans"/>
                <a:cs typeface="Lucida Sans"/>
              </a:rPr>
              <a:t>e  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outcomes</a:t>
            </a:r>
            <a:r>
              <a:rPr sz="1400" spc="-10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an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d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35" dirty="0">
                <a:solidFill>
                  <a:srgbClr val="222E3D"/>
                </a:solidFill>
                <a:latin typeface="Lucida Sans"/>
                <a:cs typeface="Lucida Sans"/>
              </a:rPr>
              <a:t>a</a:t>
            </a:r>
            <a:r>
              <a:rPr sz="1400" spc="-8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60" dirty="0">
                <a:solidFill>
                  <a:srgbClr val="222E3D"/>
                </a:solidFill>
                <a:latin typeface="Lucida Sans"/>
                <a:cs typeface="Lucida Sans"/>
              </a:rPr>
              <a:t>b</a:t>
            </a:r>
            <a:r>
              <a:rPr sz="1400" spc="-5" dirty="0">
                <a:solidFill>
                  <a:srgbClr val="222E3D"/>
                </a:solidFill>
                <a:latin typeface="Lucida Sans"/>
                <a:cs typeface="Lucida Sans"/>
              </a:rPr>
              <a:t>ett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er  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relationship</a:t>
            </a:r>
            <a:r>
              <a:rPr lang="en-US" sz="1400" spc="-45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endParaRPr sz="1400" dirty="0">
              <a:latin typeface="Lucida Sans"/>
              <a:cs typeface="Lucida Sans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3294634" y="2386329"/>
            <a:ext cx="722630" cy="829944"/>
            <a:chOff x="3294634" y="2386329"/>
            <a:chExt cx="722630" cy="829944"/>
          </a:xfrm>
        </p:grpSpPr>
        <p:pic>
          <p:nvPicPr>
            <p:cNvPr id="10" name="object 1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70834" y="2386329"/>
              <a:ext cx="219328" cy="220852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3304540" y="2560827"/>
              <a:ext cx="702945" cy="282575"/>
            </a:xfrm>
            <a:custGeom>
              <a:avLst/>
              <a:gdLst/>
              <a:ahLst/>
              <a:cxnLst/>
              <a:rect l="l" t="t" r="r" b="b"/>
              <a:pathLst>
                <a:path w="702945" h="282575">
                  <a:moveTo>
                    <a:pt x="291084" y="85979"/>
                  </a:moveTo>
                  <a:lnTo>
                    <a:pt x="246253" y="57620"/>
                  </a:lnTo>
                  <a:lnTo>
                    <a:pt x="200802" y="44432"/>
                  </a:lnTo>
                  <a:lnTo>
                    <a:pt x="176530" y="42672"/>
                  </a:lnTo>
                  <a:lnTo>
                    <a:pt x="129631" y="49167"/>
                  </a:lnTo>
                  <a:lnTo>
                    <a:pt x="87470" y="67498"/>
                  </a:lnTo>
                  <a:lnTo>
                    <a:pt x="51736" y="95932"/>
                  </a:lnTo>
                  <a:lnTo>
                    <a:pt x="24120" y="132738"/>
                  </a:lnTo>
                  <a:lnTo>
                    <a:pt x="6311" y="176183"/>
                  </a:lnTo>
                  <a:lnTo>
                    <a:pt x="0" y="224536"/>
                  </a:lnTo>
                  <a:lnTo>
                    <a:pt x="97409" y="224536"/>
                  </a:lnTo>
                </a:path>
                <a:path w="702945" h="282575">
                  <a:moveTo>
                    <a:pt x="345948" y="282448"/>
                  </a:moveTo>
                  <a:lnTo>
                    <a:pt x="680847" y="282448"/>
                  </a:lnTo>
                  <a:lnTo>
                    <a:pt x="687705" y="282448"/>
                  </a:lnTo>
                  <a:lnTo>
                    <a:pt x="694563" y="280035"/>
                  </a:lnTo>
                  <a:lnTo>
                    <a:pt x="700024" y="275589"/>
                  </a:lnTo>
                  <a:lnTo>
                    <a:pt x="702437" y="273558"/>
                  </a:lnTo>
                  <a:lnTo>
                    <a:pt x="702437" y="252984"/>
                  </a:lnTo>
                  <a:lnTo>
                    <a:pt x="595249" y="252984"/>
                  </a:lnTo>
                </a:path>
                <a:path w="702945" h="282575">
                  <a:moveTo>
                    <a:pt x="624713" y="209423"/>
                  </a:moveTo>
                  <a:lnTo>
                    <a:pt x="624713" y="213360"/>
                  </a:lnTo>
                  <a:lnTo>
                    <a:pt x="621284" y="216788"/>
                  </a:lnTo>
                  <a:lnTo>
                    <a:pt x="617347" y="216788"/>
                  </a:lnTo>
                  <a:lnTo>
                    <a:pt x="368554" y="216788"/>
                  </a:lnTo>
                  <a:lnTo>
                    <a:pt x="364617" y="216788"/>
                  </a:lnTo>
                  <a:lnTo>
                    <a:pt x="361188" y="213360"/>
                  </a:lnTo>
                  <a:lnTo>
                    <a:pt x="361188" y="209423"/>
                  </a:lnTo>
                  <a:lnTo>
                    <a:pt x="361188" y="43942"/>
                  </a:lnTo>
                  <a:lnTo>
                    <a:pt x="361188" y="40005"/>
                  </a:lnTo>
                  <a:lnTo>
                    <a:pt x="364617" y="36575"/>
                  </a:lnTo>
                  <a:lnTo>
                    <a:pt x="368554" y="36575"/>
                  </a:lnTo>
                  <a:lnTo>
                    <a:pt x="616331" y="36575"/>
                  </a:lnTo>
                  <a:lnTo>
                    <a:pt x="620268" y="36575"/>
                  </a:lnTo>
                  <a:lnTo>
                    <a:pt x="623697" y="40005"/>
                  </a:lnTo>
                  <a:lnTo>
                    <a:pt x="623697" y="43942"/>
                  </a:lnTo>
                  <a:lnTo>
                    <a:pt x="624713" y="209423"/>
                  </a:lnTo>
                  <a:close/>
                </a:path>
                <a:path w="702945" h="282575">
                  <a:moveTo>
                    <a:pt x="320039" y="191008"/>
                  </a:moveTo>
                  <a:lnTo>
                    <a:pt x="320039" y="8382"/>
                  </a:lnTo>
                  <a:lnTo>
                    <a:pt x="320039" y="3937"/>
                  </a:lnTo>
                  <a:lnTo>
                    <a:pt x="323976" y="0"/>
                  </a:lnTo>
                  <a:lnTo>
                    <a:pt x="328422" y="0"/>
                  </a:lnTo>
                  <a:lnTo>
                    <a:pt x="658495" y="0"/>
                  </a:lnTo>
                  <a:lnTo>
                    <a:pt x="662939" y="0"/>
                  </a:lnTo>
                  <a:lnTo>
                    <a:pt x="666876" y="3937"/>
                  </a:lnTo>
                  <a:lnTo>
                    <a:pt x="666876" y="8382"/>
                  </a:lnTo>
                  <a:lnTo>
                    <a:pt x="666876" y="245491"/>
                  </a:lnTo>
                  <a:lnTo>
                    <a:pt x="666876" y="249936"/>
                  </a:lnTo>
                  <a:lnTo>
                    <a:pt x="662939" y="253873"/>
                  </a:lnTo>
                  <a:lnTo>
                    <a:pt x="658495" y="253873"/>
                  </a:lnTo>
                  <a:lnTo>
                    <a:pt x="352933" y="253873"/>
                  </a:lnTo>
                </a:path>
              </a:pathLst>
            </a:custGeom>
            <a:ln w="19812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415030" y="2733801"/>
              <a:ext cx="219328" cy="219328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3348736" y="2949447"/>
              <a:ext cx="301625" cy="183515"/>
            </a:xfrm>
            <a:custGeom>
              <a:avLst/>
              <a:gdLst/>
              <a:ahLst/>
              <a:cxnLst/>
              <a:rect l="l" t="t" r="r" b="b"/>
              <a:pathLst>
                <a:path w="301625" h="183514">
                  <a:moveTo>
                    <a:pt x="241300" y="12826"/>
                  </a:moveTo>
                  <a:lnTo>
                    <a:pt x="225887" y="7286"/>
                  </a:lnTo>
                  <a:lnTo>
                    <a:pt x="209819" y="3270"/>
                  </a:lnTo>
                  <a:lnTo>
                    <a:pt x="193204" y="825"/>
                  </a:lnTo>
                  <a:lnTo>
                    <a:pt x="176149" y="0"/>
                  </a:lnTo>
                  <a:lnTo>
                    <a:pt x="129366" y="6546"/>
                  </a:lnTo>
                  <a:lnTo>
                    <a:pt x="87300" y="25023"/>
                  </a:lnTo>
                  <a:lnTo>
                    <a:pt x="51641" y="53689"/>
                  </a:lnTo>
                  <a:lnTo>
                    <a:pt x="24078" y="90800"/>
                  </a:lnTo>
                  <a:lnTo>
                    <a:pt x="6301" y="134614"/>
                  </a:lnTo>
                  <a:lnTo>
                    <a:pt x="0" y="183387"/>
                  </a:lnTo>
                  <a:lnTo>
                    <a:pt x="301625" y="183387"/>
                  </a:lnTo>
                </a:path>
              </a:pathLst>
            </a:custGeom>
            <a:ln w="19811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" name="object 1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613150" y="2902965"/>
              <a:ext cx="312927" cy="312927"/>
            </a:xfrm>
            <a:prstGeom prst="rect">
              <a:avLst/>
            </a:prstGeom>
          </p:spPr>
        </p:pic>
      </p:grpSp>
      <p:sp>
        <p:nvSpPr>
          <p:cNvPr id="15" name="object 15"/>
          <p:cNvSpPr txBox="1"/>
          <p:nvPr/>
        </p:nvSpPr>
        <p:spPr>
          <a:xfrm>
            <a:off x="5121655" y="3247390"/>
            <a:ext cx="1812289" cy="1852430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marR="5080" indent="252729">
              <a:lnSpc>
                <a:spcPts val="1939"/>
              </a:lnSpc>
              <a:spcBef>
                <a:spcPts val="345"/>
              </a:spcBef>
            </a:pPr>
            <a:r>
              <a:rPr sz="1800" b="1" spc="-114" dirty="0">
                <a:latin typeface="Lucida Sans"/>
                <a:cs typeface="Lucida Sans"/>
              </a:rPr>
              <a:t>Data-driven </a:t>
            </a:r>
            <a:r>
              <a:rPr sz="1800" b="1" spc="-110" dirty="0">
                <a:latin typeface="Lucida Sans"/>
                <a:cs typeface="Lucida Sans"/>
              </a:rPr>
              <a:t> </a:t>
            </a:r>
            <a:r>
              <a:rPr sz="1800" b="1" spc="-100" dirty="0">
                <a:latin typeface="Lucida Sans"/>
                <a:cs typeface="Lucida Sans"/>
              </a:rPr>
              <a:t>decision</a:t>
            </a:r>
            <a:r>
              <a:rPr sz="1800" b="1" spc="-434" dirty="0">
                <a:latin typeface="Lucida Sans"/>
                <a:cs typeface="Lucida Sans"/>
              </a:rPr>
              <a:t>-</a:t>
            </a:r>
            <a:r>
              <a:rPr sz="1800" b="1" spc="-110" dirty="0">
                <a:latin typeface="Lucida Sans"/>
                <a:cs typeface="Lucida Sans"/>
              </a:rPr>
              <a:t>m</a:t>
            </a:r>
            <a:r>
              <a:rPr sz="1800" b="1" spc="-60" dirty="0">
                <a:latin typeface="Lucida Sans"/>
                <a:cs typeface="Lucida Sans"/>
              </a:rPr>
              <a:t>a</a:t>
            </a:r>
            <a:r>
              <a:rPr sz="1800" b="1" spc="-90" dirty="0">
                <a:latin typeface="Lucida Sans"/>
                <a:cs typeface="Lucida Sans"/>
              </a:rPr>
              <a:t>king</a:t>
            </a:r>
            <a:endParaRPr sz="1800" dirty="0">
              <a:latin typeface="Lucida Sans"/>
              <a:cs typeface="Lucida Sans"/>
            </a:endParaRPr>
          </a:p>
          <a:p>
            <a:pPr marL="13970" marR="76200" indent="1270" algn="ctr">
              <a:lnSpc>
                <a:spcPts val="1510"/>
              </a:lnSpc>
              <a:spcBef>
                <a:spcPts val="1250"/>
              </a:spcBef>
            </a:pPr>
            <a:r>
              <a:rPr sz="1400" spc="-60" dirty="0">
                <a:solidFill>
                  <a:srgbClr val="222E3D"/>
                </a:solidFill>
                <a:latin typeface="Lucida Sans"/>
                <a:cs typeface="Lucida Sans"/>
              </a:rPr>
              <a:t>Thr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ough</a:t>
            </a:r>
            <a:r>
              <a:rPr sz="1400" spc="-10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an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aly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80" dirty="0">
                <a:solidFill>
                  <a:srgbClr val="222E3D"/>
                </a:solidFill>
                <a:latin typeface="Lucida Sans"/>
                <a:cs typeface="Lucida Sans"/>
              </a:rPr>
              <a:t>is</a:t>
            </a:r>
            <a:r>
              <a:rPr sz="1400" spc="-114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of  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hi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30" dirty="0">
                <a:solidFill>
                  <a:srgbClr val="222E3D"/>
                </a:solidFill>
                <a:latin typeface="Lucida Sans"/>
                <a:cs typeface="Lucida Sans"/>
              </a:rPr>
              <a:t>to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r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ic</a:t>
            </a:r>
            <a:r>
              <a:rPr sz="1400" spc="-60" dirty="0">
                <a:solidFill>
                  <a:srgbClr val="222E3D"/>
                </a:solidFill>
                <a:latin typeface="Lucida Sans"/>
                <a:cs typeface="Lucida Sans"/>
              </a:rPr>
              <a:t>a</a:t>
            </a:r>
            <a:r>
              <a:rPr sz="1400" spc="-5" dirty="0">
                <a:solidFill>
                  <a:srgbClr val="222E3D"/>
                </a:solidFill>
                <a:latin typeface="Lucida Sans"/>
                <a:cs typeface="Lucida Sans"/>
              </a:rPr>
              <a:t>l</a:t>
            </a:r>
            <a:r>
              <a:rPr sz="1400" spc="-10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25" dirty="0">
                <a:solidFill>
                  <a:srgbClr val="222E3D"/>
                </a:solidFill>
                <a:latin typeface="Lucida Sans"/>
                <a:cs typeface="Lucida Sans"/>
              </a:rPr>
              <a:t>data  </a:t>
            </a:r>
            <a:r>
              <a:rPr sz="1400" spc="-15" dirty="0">
                <a:solidFill>
                  <a:srgbClr val="222E3D"/>
                </a:solidFill>
                <a:latin typeface="Lucida Sans"/>
                <a:cs typeface="Lucida Sans"/>
              </a:rPr>
              <a:t>patt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er</a:t>
            </a:r>
            <a:r>
              <a:rPr sz="1400" spc="-85" dirty="0">
                <a:solidFill>
                  <a:srgbClr val="222E3D"/>
                </a:solidFill>
                <a:latin typeface="Lucida Sans"/>
                <a:cs typeface="Lucida Sans"/>
              </a:rPr>
              <a:t>n</a:t>
            </a:r>
            <a:r>
              <a:rPr sz="1400" spc="-65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,</a:t>
            </a:r>
            <a:r>
              <a:rPr sz="1400" spc="-12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we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lang="en-US" sz="1400" spc="-45" dirty="0">
                <a:solidFill>
                  <a:srgbClr val="222E3D"/>
                </a:solidFill>
                <a:latin typeface="Lucida Sans"/>
                <a:cs typeface="Lucida Sans"/>
              </a:rPr>
              <a:t>can </a:t>
            </a:r>
            <a:r>
              <a:rPr sz="1400" spc="-25" dirty="0">
                <a:solidFill>
                  <a:srgbClr val="222E3D"/>
                </a:solidFill>
                <a:latin typeface="Lucida Sans"/>
                <a:cs typeface="Lucida Sans"/>
              </a:rPr>
              <a:t>ta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r</a:t>
            </a:r>
            <a:r>
              <a:rPr sz="1400" spc="-25" dirty="0">
                <a:solidFill>
                  <a:srgbClr val="222E3D"/>
                </a:solidFill>
                <a:latin typeface="Lucida Sans"/>
                <a:cs typeface="Lucida Sans"/>
              </a:rPr>
              <a:t>get</a:t>
            </a:r>
            <a:r>
              <a:rPr lang="en-US" sz="1400" spc="-2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com</a:t>
            </a:r>
            <a:r>
              <a:rPr sz="1400" spc="-80" dirty="0">
                <a:solidFill>
                  <a:srgbClr val="222E3D"/>
                </a:solidFill>
                <a:latin typeface="Lucida Sans"/>
                <a:cs typeface="Lucida Sans"/>
              </a:rPr>
              <a:t>m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on</a:t>
            </a:r>
            <a:r>
              <a:rPr sz="1400" spc="-80" dirty="0">
                <a:solidFill>
                  <a:srgbClr val="222E3D"/>
                </a:solidFill>
                <a:latin typeface="Lucida Sans"/>
                <a:cs typeface="Lucida Sans"/>
              </a:rPr>
              <a:t> is</a:t>
            </a:r>
            <a:r>
              <a:rPr sz="1400" spc="-10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70" dirty="0">
                <a:solidFill>
                  <a:srgbClr val="222E3D"/>
                </a:solidFill>
                <a:latin typeface="Lucida Sans"/>
                <a:cs typeface="Lucida Sans"/>
              </a:rPr>
              <a:t>ues</a:t>
            </a:r>
            <a:r>
              <a:rPr sz="1400" spc="-13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and  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prior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it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iz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e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35" dirty="0">
                <a:solidFill>
                  <a:srgbClr val="222E3D"/>
                </a:solidFill>
                <a:latin typeface="Lucida Sans"/>
                <a:cs typeface="Lucida Sans"/>
              </a:rPr>
              <a:t>auto</a:t>
            </a:r>
            <a:r>
              <a:rPr sz="1400" spc="-65" dirty="0">
                <a:solidFill>
                  <a:srgbClr val="222E3D"/>
                </a:solidFill>
                <a:latin typeface="Lucida Sans"/>
                <a:cs typeface="Lucida Sans"/>
              </a:rPr>
              <a:t>m</a:t>
            </a:r>
            <a:r>
              <a:rPr sz="1400" spc="-15" dirty="0">
                <a:solidFill>
                  <a:srgbClr val="222E3D"/>
                </a:solidFill>
                <a:latin typeface="Lucida Sans"/>
                <a:cs typeface="Lucida Sans"/>
              </a:rPr>
              <a:t>a</a:t>
            </a:r>
            <a:r>
              <a:rPr sz="1400" spc="-5" dirty="0">
                <a:solidFill>
                  <a:srgbClr val="222E3D"/>
                </a:solidFill>
                <a:latin typeface="Lucida Sans"/>
                <a:cs typeface="Lucida Sans"/>
              </a:rPr>
              <a:t>t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ion</a:t>
            </a:r>
            <a:endParaRPr sz="1400" dirty="0">
              <a:latin typeface="Lucida Sans"/>
              <a:cs typeface="Lucida San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5563361" y="2117648"/>
            <a:ext cx="46990" cy="46990"/>
          </a:xfrm>
          <a:custGeom>
            <a:avLst/>
            <a:gdLst/>
            <a:ahLst/>
            <a:cxnLst/>
            <a:rect l="l" t="t" r="r" b="b"/>
            <a:pathLst>
              <a:path w="46989" h="46989">
                <a:moveTo>
                  <a:pt x="0" y="46939"/>
                </a:moveTo>
                <a:lnTo>
                  <a:pt x="46939" y="46939"/>
                </a:lnTo>
                <a:lnTo>
                  <a:pt x="46939" y="0"/>
                </a:lnTo>
                <a:lnTo>
                  <a:pt x="0" y="0"/>
                </a:lnTo>
                <a:lnTo>
                  <a:pt x="0" y="46939"/>
                </a:lnTo>
                <a:close/>
              </a:path>
            </a:pathLst>
          </a:custGeom>
          <a:ln w="19812">
            <a:solidFill>
              <a:srgbClr val="527E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7" name="object 17"/>
          <p:cNvGrpSpPr/>
          <p:nvPr/>
        </p:nvGrpSpPr>
        <p:grpSpPr>
          <a:xfrm>
            <a:off x="5631434" y="2153686"/>
            <a:ext cx="655955" cy="901065"/>
            <a:chOff x="5631434" y="2153686"/>
            <a:chExt cx="655955" cy="901065"/>
          </a:xfrm>
        </p:grpSpPr>
        <p:sp>
          <p:nvSpPr>
            <p:cNvPr id="18" name="object 18"/>
            <p:cNvSpPr/>
            <p:nvPr/>
          </p:nvSpPr>
          <p:spPr>
            <a:xfrm>
              <a:off x="5641340" y="2163592"/>
              <a:ext cx="396240" cy="408305"/>
            </a:xfrm>
            <a:custGeom>
              <a:avLst/>
              <a:gdLst/>
              <a:ahLst/>
              <a:cxnLst/>
              <a:rect l="l" t="t" r="r" b="b"/>
              <a:pathLst>
                <a:path w="396239" h="408305">
                  <a:moveTo>
                    <a:pt x="181101" y="150220"/>
                  </a:moveTo>
                  <a:lnTo>
                    <a:pt x="228041" y="150220"/>
                  </a:lnTo>
                  <a:lnTo>
                    <a:pt x="228041" y="102108"/>
                  </a:lnTo>
                  <a:lnTo>
                    <a:pt x="181101" y="102108"/>
                  </a:lnTo>
                  <a:lnTo>
                    <a:pt x="181101" y="150220"/>
                  </a:lnTo>
                  <a:close/>
                </a:path>
                <a:path w="396239" h="408305">
                  <a:moveTo>
                    <a:pt x="274065" y="48112"/>
                  </a:moveTo>
                  <a:lnTo>
                    <a:pt x="321005" y="48112"/>
                  </a:lnTo>
                  <a:lnTo>
                    <a:pt x="321005" y="0"/>
                  </a:lnTo>
                  <a:lnTo>
                    <a:pt x="274065" y="0"/>
                  </a:lnTo>
                  <a:lnTo>
                    <a:pt x="274065" y="48112"/>
                  </a:lnTo>
                  <a:close/>
                </a:path>
                <a:path w="396239" h="408305">
                  <a:moveTo>
                    <a:pt x="348742" y="202163"/>
                  </a:moveTo>
                  <a:lnTo>
                    <a:pt x="395681" y="202163"/>
                  </a:lnTo>
                  <a:lnTo>
                    <a:pt x="395681" y="155224"/>
                  </a:lnTo>
                  <a:lnTo>
                    <a:pt x="348742" y="155224"/>
                  </a:lnTo>
                  <a:lnTo>
                    <a:pt x="348742" y="202163"/>
                  </a:lnTo>
                  <a:close/>
                </a:path>
                <a:path w="396239" h="408305">
                  <a:moveTo>
                    <a:pt x="117348" y="252328"/>
                  </a:moveTo>
                  <a:lnTo>
                    <a:pt x="165461" y="252328"/>
                  </a:lnTo>
                  <a:lnTo>
                    <a:pt x="165461" y="204216"/>
                  </a:lnTo>
                  <a:lnTo>
                    <a:pt x="117348" y="204216"/>
                  </a:lnTo>
                  <a:lnTo>
                    <a:pt x="117348" y="252328"/>
                  </a:lnTo>
                  <a:close/>
                </a:path>
                <a:path w="396239" h="408305">
                  <a:moveTo>
                    <a:pt x="248158" y="243184"/>
                  </a:moveTo>
                  <a:lnTo>
                    <a:pt x="295097" y="243184"/>
                  </a:lnTo>
                  <a:lnTo>
                    <a:pt x="295097" y="195072"/>
                  </a:lnTo>
                  <a:lnTo>
                    <a:pt x="248158" y="195072"/>
                  </a:lnTo>
                  <a:lnTo>
                    <a:pt x="248158" y="243184"/>
                  </a:lnTo>
                  <a:close/>
                </a:path>
                <a:path w="396239" h="408305">
                  <a:moveTo>
                    <a:pt x="54863" y="141076"/>
                  </a:moveTo>
                  <a:lnTo>
                    <a:pt x="102977" y="141076"/>
                  </a:lnTo>
                  <a:lnTo>
                    <a:pt x="102977" y="92964"/>
                  </a:lnTo>
                  <a:lnTo>
                    <a:pt x="54863" y="92964"/>
                  </a:lnTo>
                  <a:lnTo>
                    <a:pt x="54863" y="141076"/>
                  </a:lnTo>
                  <a:close/>
                </a:path>
                <a:path w="396239" h="408305">
                  <a:moveTo>
                    <a:pt x="102108" y="407776"/>
                  </a:moveTo>
                  <a:lnTo>
                    <a:pt x="150221" y="407776"/>
                  </a:lnTo>
                  <a:lnTo>
                    <a:pt x="150221" y="359664"/>
                  </a:lnTo>
                  <a:lnTo>
                    <a:pt x="102108" y="359664"/>
                  </a:lnTo>
                  <a:lnTo>
                    <a:pt x="102108" y="407776"/>
                  </a:lnTo>
                  <a:close/>
                </a:path>
                <a:path w="396239" h="408305">
                  <a:moveTo>
                    <a:pt x="0" y="314812"/>
                  </a:moveTo>
                  <a:lnTo>
                    <a:pt x="48113" y="314812"/>
                  </a:lnTo>
                  <a:lnTo>
                    <a:pt x="48113" y="266700"/>
                  </a:lnTo>
                  <a:lnTo>
                    <a:pt x="0" y="266700"/>
                  </a:lnTo>
                  <a:lnTo>
                    <a:pt x="0" y="314812"/>
                  </a:lnTo>
                  <a:close/>
                </a:path>
              </a:pathLst>
            </a:custGeom>
            <a:ln w="19812">
              <a:solidFill>
                <a:srgbClr val="527E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5833237" y="2408809"/>
              <a:ext cx="444500" cy="636270"/>
            </a:xfrm>
            <a:custGeom>
              <a:avLst/>
              <a:gdLst/>
              <a:ahLst/>
              <a:cxnLst/>
              <a:rect l="l" t="t" r="r" b="b"/>
              <a:pathLst>
                <a:path w="444500" h="636269">
                  <a:moveTo>
                    <a:pt x="0" y="618616"/>
                  </a:moveTo>
                  <a:lnTo>
                    <a:pt x="0" y="17271"/>
                  </a:lnTo>
                  <a:lnTo>
                    <a:pt x="0" y="7365"/>
                  </a:lnTo>
                  <a:lnTo>
                    <a:pt x="8000" y="0"/>
                  </a:lnTo>
                  <a:lnTo>
                    <a:pt x="17272" y="0"/>
                  </a:lnTo>
                  <a:lnTo>
                    <a:pt x="295275" y="0"/>
                  </a:lnTo>
                  <a:lnTo>
                    <a:pt x="443611" y="147954"/>
                  </a:lnTo>
                  <a:lnTo>
                    <a:pt x="443611" y="618616"/>
                  </a:lnTo>
                  <a:lnTo>
                    <a:pt x="443611" y="628523"/>
                  </a:lnTo>
                  <a:lnTo>
                    <a:pt x="435610" y="635888"/>
                  </a:lnTo>
                  <a:lnTo>
                    <a:pt x="426338" y="635888"/>
                  </a:lnTo>
                  <a:lnTo>
                    <a:pt x="17272" y="635888"/>
                  </a:lnTo>
                  <a:lnTo>
                    <a:pt x="8000" y="635888"/>
                  </a:lnTo>
                  <a:lnTo>
                    <a:pt x="0" y="627888"/>
                  </a:lnTo>
                  <a:lnTo>
                    <a:pt x="0" y="618616"/>
                  </a:lnTo>
                  <a:close/>
                </a:path>
                <a:path w="444500" h="636269">
                  <a:moveTo>
                    <a:pt x="297179" y="147574"/>
                  </a:moveTo>
                  <a:lnTo>
                    <a:pt x="444246" y="147574"/>
                  </a:lnTo>
                  <a:lnTo>
                    <a:pt x="297179" y="0"/>
                  </a:lnTo>
                  <a:lnTo>
                    <a:pt x="297179" y="147574"/>
                  </a:lnTo>
                  <a:close/>
                </a:path>
                <a:path w="444500" h="636269">
                  <a:moveTo>
                    <a:pt x="195072" y="353440"/>
                  </a:moveTo>
                  <a:lnTo>
                    <a:pt x="378713" y="353440"/>
                  </a:lnTo>
                </a:path>
                <a:path w="444500" h="636269">
                  <a:moveTo>
                    <a:pt x="195072" y="527176"/>
                  </a:moveTo>
                  <a:lnTo>
                    <a:pt x="378713" y="527176"/>
                  </a:lnTo>
                </a:path>
                <a:path w="444500" h="636269">
                  <a:moveTo>
                    <a:pt x="195072" y="270382"/>
                  </a:moveTo>
                  <a:lnTo>
                    <a:pt x="378713" y="270382"/>
                  </a:lnTo>
                </a:path>
                <a:path w="444500" h="636269">
                  <a:moveTo>
                    <a:pt x="195072" y="444118"/>
                  </a:moveTo>
                  <a:lnTo>
                    <a:pt x="378713" y="444118"/>
                  </a:lnTo>
                </a:path>
                <a:path w="444500" h="636269">
                  <a:moveTo>
                    <a:pt x="194945" y="179704"/>
                  </a:moveTo>
                  <a:lnTo>
                    <a:pt x="254635" y="179704"/>
                  </a:lnTo>
                </a:path>
                <a:path w="444500" h="636269">
                  <a:moveTo>
                    <a:pt x="64008" y="188849"/>
                  </a:moveTo>
                  <a:lnTo>
                    <a:pt x="91821" y="216788"/>
                  </a:lnTo>
                  <a:lnTo>
                    <a:pt x="160400" y="147827"/>
                  </a:lnTo>
                </a:path>
                <a:path w="444500" h="636269">
                  <a:moveTo>
                    <a:pt x="64008" y="530860"/>
                  </a:moveTo>
                  <a:lnTo>
                    <a:pt x="91821" y="558291"/>
                  </a:lnTo>
                  <a:lnTo>
                    <a:pt x="160400" y="490600"/>
                  </a:lnTo>
                </a:path>
                <a:path w="444500" h="636269">
                  <a:moveTo>
                    <a:pt x="77724" y="318515"/>
                  </a:moveTo>
                  <a:lnTo>
                    <a:pt x="147192" y="387985"/>
                  </a:lnTo>
                </a:path>
                <a:path w="444500" h="636269">
                  <a:moveTo>
                    <a:pt x="147192" y="318515"/>
                  </a:moveTo>
                  <a:lnTo>
                    <a:pt x="77724" y="388619"/>
                  </a:lnTo>
                </a:path>
              </a:pathLst>
            </a:custGeom>
            <a:ln w="19812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7415276" y="3247390"/>
            <a:ext cx="1934210" cy="1852430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268605" marR="5080" indent="-250190">
              <a:lnSpc>
                <a:spcPts val="1939"/>
              </a:lnSpc>
              <a:spcBef>
                <a:spcPts val="345"/>
              </a:spcBef>
            </a:pPr>
            <a:r>
              <a:rPr sz="1800" b="1" spc="-35" dirty="0">
                <a:solidFill>
                  <a:srgbClr val="282828"/>
                </a:solidFill>
                <a:latin typeface="Lucida Sans"/>
                <a:cs typeface="Lucida Sans"/>
              </a:rPr>
              <a:t>I</a:t>
            </a:r>
            <a:r>
              <a:rPr sz="1800" b="1" spc="-85" dirty="0">
                <a:solidFill>
                  <a:srgbClr val="282828"/>
                </a:solidFill>
                <a:latin typeface="Lucida Sans"/>
                <a:cs typeface="Lucida Sans"/>
              </a:rPr>
              <a:t>m</a:t>
            </a:r>
            <a:r>
              <a:rPr sz="1800" b="1" spc="-90" dirty="0">
                <a:solidFill>
                  <a:srgbClr val="282828"/>
                </a:solidFill>
                <a:latin typeface="Lucida Sans"/>
                <a:cs typeface="Lucida Sans"/>
              </a:rPr>
              <a:t>proved</a:t>
            </a:r>
            <a:r>
              <a:rPr sz="1800" b="1" spc="-120" dirty="0">
                <a:solidFill>
                  <a:srgbClr val="282828"/>
                </a:solidFill>
                <a:latin typeface="Lucida Sans"/>
                <a:cs typeface="Lucida Sans"/>
              </a:rPr>
              <a:t> </a:t>
            </a:r>
            <a:r>
              <a:rPr sz="1800" b="1" spc="-70" dirty="0">
                <a:solidFill>
                  <a:srgbClr val="282828"/>
                </a:solidFill>
                <a:latin typeface="Lucida Sans"/>
                <a:cs typeface="Lucida Sans"/>
              </a:rPr>
              <a:t>partner  </a:t>
            </a:r>
            <a:r>
              <a:rPr sz="1800" b="1" spc="-95" dirty="0">
                <a:solidFill>
                  <a:srgbClr val="282828"/>
                </a:solidFill>
                <a:latin typeface="Lucida Sans"/>
                <a:cs typeface="Lucida Sans"/>
              </a:rPr>
              <a:t>transparency</a:t>
            </a:r>
            <a:endParaRPr sz="1800" dirty="0">
              <a:latin typeface="Lucida Sans"/>
              <a:cs typeface="Lucida Sans"/>
            </a:endParaRPr>
          </a:p>
          <a:p>
            <a:pPr marL="12065" marR="64769" indent="-1270" algn="ctr">
              <a:lnSpc>
                <a:spcPts val="1510"/>
              </a:lnSpc>
              <a:spcBef>
                <a:spcPts val="1250"/>
              </a:spcBef>
            </a:pPr>
            <a:r>
              <a:rPr sz="1400" spc="-15" dirty="0">
                <a:latin typeface="Lucida Sans"/>
                <a:cs typeface="Lucida Sans"/>
              </a:rPr>
              <a:t>I</a:t>
            </a:r>
            <a:r>
              <a:rPr sz="1400" spc="-60" dirty="0">
                <a:latin typeface="Lucida Sans"/>
                <a:cs typeface="Lucida Sans"/>
              </a:rPr>
              <a:t>nc</a:t>
            </a:r>
            <a:r>
              <a:rPr sz="1400" spc="-40" dirty="0">
                <a:latin typeface="Lucida Sans"/>
                <a:cs typeface="Lucida Sans"/>
              </a:rPr>
              <a:t>rea</a:t>
            </a:r>
            <a:r>
              <a:rPr sz="1400" spc="-110" dirty="0">
                <a:latin typeface="Lucida Sans"/>
                <a:cs typeface="Lucida Sans"/>
              </a:rPr>
              <a:t>s</a:t>
            </a:r>
            <a:r>
              <a:rPr sz="1400" spc="-55" dirty="0">
                <a:latin typeface="Lucida Sans"/>
                <a:cs typeface="Lucida Sans"/>
              </a:rPr>
              <a:t>ed</a:t>
            </a:r>
            <a:r>
              <a:rPr sz="1400" spc="-120" dirty="0">
                <a:latin typeface="Lucida Sans"/>
                <a:cs typeface="Lucida Sans"/>
              </a:rPr>
              <a:t> </a:t>
            </a:r>
            <a:r>
              <a:rPr sz="1400" spc="-20" dirty="0">
                <a:latin typeface="Lucida Sans"/>
                <a:cs typeface="Lucida Sans"/>
              </a:rPr>
              <a:t>aw</a:t>
            </a:r>
            <a:r>
              <a:rPr sz="1400" spc="-50" dirty="0">
                <a:latin typeface="Lucida Sans"/>
                <a:cs typeface="Lucida Sans"/>
              </a:rPr>
              <a:t>a</a:t>
            </a:r>
            <a:r>
              <a:rPr sz="1400" spc="-35" dirty="0">
                <a:latin typeface="Lucida Sans"/>
                <a:cs typeface="Lucida Sans"/>
              </a:rPr>
              <a:t>r</a:t>
            </a:r>
            <a:r>
              <a:rPr sz="1400" spc="-40" dirty="0">
                <a:latin typeface="Lucida Sans"/>
                <a:cs typeface="Lucida Sans"/>
              </a:rPr>
              <a:t>ene</a:t>
            </a:r>
            <a:r>
              <a:rPr sz="1400" spc="-120" dirty="0">
                <a:latin typeface="Lucida Sans"/>
                <a:cs typeface="Lucida Sans"/>
              </a:rPr>
              <a:t>s</a:t>
            </a:r>
            <a:r>
              <a:rPr sz="1400" spc="-80" dirty="0">
                <a:latin typeface="Lucida Sans"/>
                <a:cs typeface="Lucida Sans"/>
              </a:rPr>
              <a:t>s  </a:t>
            </a:r>
            <a:r>
              <a:rPr sz="1400" spc="-20" dirty="0">
                <a:latin typeface="Lucida Sans"/>
                <a:cs typeface="Lucida Sans"/>
              </a:rPr>
              <a:t>of</a:t>
            </a:r>
            <a:r>
              <a:rPr sz="1400" spc="-80" dirty="0">
                <a:latin typeface="Lucida Sans"/>
                <a:cs typeface="Lucida Sans"/>
              </a:rPr>
              <a:t> </a:t>
            </a:r>
            <a:r>
              <a:rPr sz="1400" spc="-15" dirty="0">
                <a:latin typeface="Lucida Sans"/>
                <a:cs typeface="Lucida Sans"/>
              </a:rPr>
              <a:t>th</a:t>
            </a:r>
            <a:r>
              <a:rPr sz="1400" spc="-40" dirty="0">
                <a:latin typeface="Lucida Sans"/>
                <a:cs typeface="Lucida Sans"/>
              </a:rPr>
              <a:t>e</a:t>
            </a:r>
            <a:r>
              <a:rPr sz="1400" spc="-95" dirty="0">
                <a:latin typeface="Lucida Sans"/>
                <a:cs typeface="Lucida Sans"/>
              </a:rPr>
              <a:t> </a:t>
            </a:r>
            <a:r>
              <a:rPr sz="1400" spc="-30" dirty="0">
                <a:latin typeface="Lucida Sans"/>
                <a:cs typeface="Lucida Sans"/>
              </a:rPr>
              <a:t>ov</a:t>
            </a:r>
            <a:r>
              <a:rPr sz="1400" spc="-45" dirty="0">
                <a:latin typeface="Lucida Sans"/>
                <a:cs typeface="Lucida Sans"/>
              </a:rPr>
              <a:t>er</a:t>
            </a:r>
            <a:r>
              <a:rPr sz="1400" spc="-15" dirty="0">
                <a:latin typeface="Lucida Sans"/>
                <a:cs typeface="Lucida Sans"/>
              </a:rPr>
              <a:t>all</a:t>
            </a:r>
            <a:r>
              <a:rPr sz="1400" spc="-114" dirty="0">
                <a:latin typeface="Lucida Sans"/>
                <a:cs typeface="Lucida Sans"/>
              </a:rPr>
              <a:t> </a:t>
            </a:r>
            <a:r>
              <a:rPr sz="1400" spc="-50" dirty="0">
                <a:latin typeface="Lucida Sans"/>
                <a:cs typeface="Lucida Sans"/>
              </a:rPr>
              <a:t>products  </a:t>
            </a:r>
            <a:r>
              <a:rPr sz="1400" spc="-40" dirty="0">
                <a:latin typeface="Lucida Sans"/>
                <a:cs typeface="Lucida Sans"/>
              </a:rPr>
              <a:t>an</a:t>
            </a:r>
            <a:r>
              <a:rPr sz="1400" spc="-55" dirty="0">
                <a:latin typeface="Lucida Sans"/>
                <a:cs typeface="Lucida Sans"/>
              </a:rPr>
              <a:t>d</a:t>
            </a:r>
            <a:r>
              <a:rPr sz="1400" spc="-95" dirty="0">
                <a:latin typeface="Lucida Sans"/>
                <a:cs typeface="Lucida Sans"/>
              </a:rPr>
              <a:t> </a:t>
            </a:r>
            <a:r>
              <a:rPr sz="1400" spc="-110" dirty="0">
                <a:latin typeface="Lucida Sans"/>
                <a:cs typeface="Lucida Sans"/>
              </a:rPr>
              <a:t>s</a:t>
            </a:r>
            <a:r>
              <a:rPr sz="1400" spc="-45" dirty="0">
                <a:latin typeface="Lucida Sans"/>
                <a:cs typeface="Lucida Sans"/>
              </a:rPr>
              <a:t>er</a:t>
            </a:r>
            <a:r>
              <a:rPr sz="1400" spc="-30" dirty="0">
                <a:latin typeface="Lucida Sans"/>
                <a:cs typeface="Lucida Sans"/>
              </a:rPr>
              <a:t>vi</a:t>
            </a:r>
            <a:r>
              <a:rPr sz="1400" spc="-75" dirty="0">
                <a:latin typeface="Lucida Sans"/>
                <a:cs typeface="Lucida Sans"/>
              </a:rPr>
              <a:t>ces</a:t>
            </a:r>
            <a:r>
              <a:rPr sz="1400" spc="20" dirty="0">
                <a:latin typeface="Lucida Sans"/>
                <a:cs typeface="Lucida Sans"/>
              </a:rPr>
              <a:t> </a:t>
            </a:r>
            <a:r>
              <a:rPr sz="1400" spc="5" dirty="0">
                <a:latin typeface="Lucida Sans"/>
                <a:cs typeface="Lucida Sans"/>
              </a:rPr>
              <a:t>f</a:t>
            </a:r>
            <a:r>
              <a:rPr sz="1400" spc="-50" dirty="0">
                <a:latin typeface="Lucida Sans"/>
                <a:cs typeface="Lucida Sans"/>
              </a:rPr>
              <a:t>or</a:t>
            </a:r>
            <a:r>
              <a:rPr sz="1400" spc="-95" dirty="0">
                <a:latin typeface="Lucida Sans"/>
                <a:cs typeface="Lucida Sans"/>
              </a:rPr>
              <a:t> </a:t>
            </a:r>
            <a:r>
              <a:rPr sz="1400" spc="-15" dirty="0">
                <a:latin typeface="Lucida Sans"/>
                <a:cs typeface="Lucida Sans"/>
              </a:rPr>
              <a:t>th</a:t>
            </a:r>
            <a:r>
              <a:rPr sz="1400" spc="-40" dirty="0">
                <a:latin typeface="Lucida Sans"/>
                <a:cs typeface="Lucida Sans"/>
              </a:rPr>
              <a:t>e</a:t>
            </a:r>
            <a:r>
              <a:rPr sz="1400" spc="-85" dirty="0">
                <a:latin typeface="Lucida Sans"/>
                <a:cs typeface="Lucida Sans"/>
              </a:rPr>
              <a:t> </a:t>
            </a:r>
            <a:r>
              <a:rPr sz="1400" spc="-25" dirty="0">
                <a:latin typeface="Lucida Sans"/>
                <a:cs typeface="Lucida Sans"/>
              </a:rPr>
              <a:t>event</a:t>
            </a:r>
            <a:r>
              <a:rPr sz="1400" spc="-110" dirty="0">
                <a:latin typeface="Lucida Sans"/>
                <a:cs typeface="Lucida Sans"/>
              </a:rPr>
              <a:t>s</a:t>
            </a:r>
            <a:r>
              <a:rPr sz="1400" spc="-80" dirty="0">
                <a:latin typeface="Lucida Sans"/>
                <a:cs typeface="Lucida Sans"/>
              </a:rPr>
              <a:t> </a:t>
            </a:r>
            <a:r>
              <a:rPr sz="1400" spc="-15" dirty="0">
                <a:latin typeface="Lucida Sans"/>
                <a:cs typeface="Lucida Sans"/>
              </a:rPr>
              <a:t>th</a:t>
            </a:r>
            <a:r>
              <a:rPr sz="1400" spc="-10" dirty="0">
                <a:latin typeface="Lucida Sans"/>
                <a:cs typeface="Lucida Sans"/>
              </a:rPr>
              <a:t>at</a:t>
            </a:r>
            <a:r>
              <a:rPr sz="1400" spc="-90" dirty="0">
                <a:latin typeface="Lucida Sans"/>
                <a:cs typeface="Lucida Sans"/>
              </a:rPr>
              <a:t> </a:t>
            </a:r>
            <a:r>
              <a:rPr sz="1400" spc="-60" dirty="0">
                <a:latin typeface="Lucida Sans"/>
                <a:cs typeface="Lucida Sans"/>
              </a:rPr>
              <a:t>occur</a:t>
            </a:r>
            <a:r>
              <a:rPr sz="1400" spc="-80" dirty="0">
                <a:latin typeface="Lucida Sans"/>
                <a:cs typeface="Lucida Sans"/>
              </a:rPr>
              <a:t> </a:t>
            </a:r>
            <a:r>
              <a:rPr sz="1400" spc="-55" dirty="0">
                <a:latin typeface="Lucida Sans"/>
                <a:cs typeface="Lucida Sans"/>
              </a:rPr>
              <a:t>acr</a:t>
            </a:r>
            <a:r>
              <a:rPr sz="1400" spc="-85" dirty="0">
                <a:latin typeface="Lucida Sans"/>
                <a:cs typeface="Lucida Sans"/>
              </a:rPr>
              <a:t>o</a:t>
            </a:r>
            <a:r>
              <a:rPr sz="1400" spc="-65" dirty="0">
                <a:latin typeface="Lucida Sans"/>
                <a:cs typeface="Lucida Sans"/>
              </a:rPr>
              <a:t>s</a:t>
            </a:r>
            <a:r>
              <a:rPr sz="1400" spc="-110" dirty="0">
                <a:latin typeface="Lucida Sans"/>
                <a:cs typeface="Lucida Sans"/>
              </a:rPr>
              <a:t>s</a:t>
            </a:r>
            <a:r>
              <a:rPr sz="1400" spc="-114" dirty="0">
                <a:latin typeface="Lucida Sans"/>
                <a:cs typeface="Lucida Sans"/>
              </a:rPr>
              <a:t> </a:t>
            </a:r>
            <a:r>
              <a:rPr sz="1400" spc="-15" dirty="0">
                <a:latin typeface="Lucida Sans"/>
                <a:cs typeface="Lucida Sans"/>
              </a:rPr>
              <a:t>th</a:t>
            </a:r>
            <a:r>
              <a:rPr sz="1400" spc="-30" dirty="0">
                <a:latin typeface="Lucida Sans"/>
                <a:cs typeface="Lucida Sans"/>
              </a:rPr>
              <a:t>e  </a:t>
            </a:r>
            <a:r>
              <a:rPr sz="1400" spc="-40" dirty="0">
                <a:latin typeface="Lucida Sans"/>
                <a:cs typeface="Lucida Sans"/>
              </a:rPr>
              <a:t>environment</a:t>
            </a:r>
            <a:endParaRPr sz="1400" dirty="0">
              <a:latin typeface="Lucida Sans"/>
              <a:cs typeface="Lucida Sans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7997952" y="2398776"/>
            <a:ext cx="708025" cy="697230"/>
            <a:chOff x="7997952" y="2398776"/>
            <a:chExt cx="708025" cy="697230"/>
          </a:xfrm>
        </p:grpSpPr>
        <p:sp>
          <p:nvSpPr>
            <p:cNvPr id="22" name="object 22"/>
            <p:cNvSpPr/>
            <p:nvPr/>
          </p:nvSpPr>
          <p:spPr>
            <a:xfrm>
              <a:off x="8007858" y="2408682"/>
              <a:ext cx="509270" cy="508000"/>
            </a:xfrm>
            <a:custGeom>
              <a:avLst/>
              <a:gdLst/>
              <a:ahLst/>
              <a:cxnLst/>
              <a:rect l="l" t="t" r="r" b="b"/>
              <a:pathLst>
                <a:path w="509270" h="508000">
                  <a:moveTo>
                    <a:pt x="18923" y="157987"/>
                  </a:moveTo>
                  <a:lnTo>
                    <a:pt x="10822" y="180647"/>
                  </a:lnTo>
                  <a:lnTo>
                    <a:pt x="4889" y="204295"/>
                  </a:lnTo>
                  <a:lnTo>
                    <a:pt x="1242" y="228728"/>
                  </a:lnTo>
                  <a:lnTo>
                    <a:pt x="0" y="253745"/>
                  </a:lnTo>
                  <a:lnTo>
                    <a:pt x="4103" y="299341"/>
                  </a:lnTo>
                  <a:lnTo>
                    <a:pt x="15934" y="342262"/>
                  </a:lnTo>
                  <a:lnTo>
                    <a:pt x="34769" y="381790"/>
                  </a:lnTo>
                  <a:lnTo>
                    <a:pt x="59889" y="417207"/>
                  </a:lnTo>
                  <a:lnTo>
                    <a:pt x="90572" y="447794"/>
                  </a:lnTo>
                  <a:lnTo>
                    <a:pt x="126096" y="472835"/>
                  </a:lnTo>
                  <a:lnTo>
                    <a:pt x="165741" y="491610"/>
                  </a:lnTo>
                  <a:lnTo>
                    <a:pt x="208785" y="503401"/>
                  </a:lnTo>
                  <a:lnTo>
                    <a:pt x="254508" y="507491"/>
                  </a:lnTo>
                  <a:lnTo>
                    <a:pt x="300263" y="503401"/>
                  </a:lnTo>
                  <a:lnTo>
                    <a:pt x="343325" y="491610"/>
                  </a:lnTo>
                  <a:lnTo>
                    <a:pt x="382975" y="472835"/>
                  </a:lnTo>
                  <a:lnTo>
                    <a:pt x="418495" y="447794"/>
                  </a:lnTo>
                  <a:lnTo>
                    <a:pt x="449168" y="417207"/>
                  </a:lnTo>
                  <a:lnTo>
                    <a:pt x="474274" y="381790"/>
                  </a:lnTo>
                  <a:lnTo>
                    <a:pt x="493096" y="342262"/>
                  </a:lnTo>
                  <a:lnTo>
                    <a:pt x="504916" y="299341"/>
                  </a:lnTo>
                  <a:lnTo>
                    <a:pt x="509016" y="253745"/>
                  </a:lnTo>
                  <a:lnTo>
                    <a:pt x="504933" y="208150"/>
                  </a:lnTo>
                  <a:lnTo>
                    <a:pt x="493155" y="165229"/>
                  </a:lnTo>
                  <a:lnTo>
                    <a:pt x="474387" y="125701"/>
                  </a:lnTo>
                  <a:lnTo>
                    <a:pt x="449335" y="90284"/>
                  </a:lnTo>
                  <a:lnTo>
                    <a:pt x="418704" y="59697"/>
                  </a:lnTo>
                  <a:lnTo>
                    <a:pt x="383201" y="34656"/>
                  </a:lnTo>
                  <a:lnTo>
                    <a:pt x="343530" y="15881"/>
                  </a:lnTo>
                  <a:lnTo>
                    <a:pt x="300397" y="4090"/>
                  </a:lnTo>
                  <a:lnTo>
                    <a:pt x="254508" y="0"/>
                  </a:lnTo>
                  <a:lnTo>
                    <a:pt x="216947" y="2726"/>
                  </a:lnTo>
                  <a:lnTo>
                    <a:pt x="181101" y="10667"/>
                  </a:lnTo>
                  <a:lnTo>
                    <a:pt x="147351" y="23467"/>
                  </a:lnTo>
                  <a:lnTo>
                    <a:pt x="116077" y="40766"/>
                  </a:lnTo>
                </a:path>
                <a:path w="509270" h="508000">
                  <a:moveTo>
                    <a:pt x="88392" y="61087"/>
                  </a:moveTo>
                  <a:lnTo>
                    <a:pt x="72479" y="76406"/>
                  </a:lnTo>
                  <a:lnTo>
                    <a:pt x="57959" y="92963"/>
                  </a:lnTo>
                  <a:lnTo>
                    <a:pt x="44940" y="110664"/>
                  </a:lnTo>
                  <a:lnTo>
                    <a:pt x="33527" y="129412"/>
                  </a:lnTo>
                </a:path>
              </a:pathLst>
            </a:custGeom>
            <a:ln w="19812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8057007" y="2457958"/>
              <a:ext cx="412115" cy="410845"/>
            </a:xfrm>
            <a:custGeom>
              <a:avLst/>
              <a:gdLst/>
              <a:ahLst/>
              <a:cxnLst/>
              <a:rect l="l" t="t" r="r" b="b"/>
              <a:pathLst>
                <a:path w="412115" h="410844">
                  <a:moveTo>
                    <a:pt x="374650" y="323595"/>
                  </a:moveTo>
                  <a:lnTo>
                    <a:pt x="344741" y="357624"/>
                  </a:lnTo>
                  <a:lnTo>
                    <a:pt x="307879" y="384460"/>
                  </a:lnTo>
                  <a:lnTo>
                    <a:pt x="265350" y="402677"/>
                  </a:lnTo>
                  <a:lnTo>
                    <a:pt x="218440" y="410844"/>
                  </a:lnTo>
                  <a:lnTo>
                    <a:pt x="170883" y="408341"/>
                  </a:lnTo>
                  <a:lnTo>
                    <a:pt x="126614" y="395514"/>
                  </a:lnTo>
                  <a:lnTo>
                    <a:pt x="86931" y="373532"/>
                  </a:lnTo>
                  <a:lnTo>
                    <a:pt x="53131" y="343563"/>
                  </a:lnTo>
                  <a:lnTo>
                    <a:pt x="26510" y="306777"/>
                  </a:lnTo>
                  <a:lnTo>
                    <a:pt x="8367" y="264341"/>
                  </a:lnTo>
                  <a:lnTo>
                    <a:pt x="0" y="217424"/>
                  </a:lnTo>
                  <a:lnTo>
                    <a:pt x="2663" y="170017"/>
                  </a:lnTo>
                  <a:lnTo>
                    <a:pt x="15552" y="125878"/>
                  </a:lnTo>
                  <a:lnTo>
                    <a:pt x="37525" y="86315"/>
                  </a:lnTo>
                  <a:lnTo>
                    <a:pt x="67441" y="52637"/>
                  </a:lnTo>
                  <a:lnTo>
                    <a:pt x="104156" y="26153"/>
                  </a:lnTo>
                  <a:lnTo>
                    <a:pt x="146530" y="8171"/>
                  </a:lnTo>
                  <a:lnTo>
                    <a:pt x="193421" y="0"/>
                  </a:lnTo>
                  <a:lnTo>
                    <a:pt x="241017" y="2463"/>
                  </a:lnTo>
                  <a:lnTo>
                    <a:pt x="285304" y="15274"/>
                  </a:lnTo>
                  <a:lnTo>
                    <a:pt x="324992" y="37259"/>
                  </a:lnTo>
                  <a:lnTo>
                    <a:pt x="358793" y="67241"/>
                  </a:lnTo>
                  <a:lnTo>
                    <a:pt x="385418" y="104045"/>
                  </a:lnTo>
                  <a:lnTo>
                    <a:pt x="403579" y="146497"/>
                  </a:lnTo>
                  <a:lnTo>
                    <a:pt x="411988" y="193420"/>
                  </a:lnTo>
                  <a:lnTo>
                    <a:pt x="412097" y="214566"/>
                  </a:lnTo>
                  <a:lnTo>
                    <a:pt x="410194" y="235140"/>
                  </a:lnTo>
                  <a:lnTo>
                    <a:pt x="406362" y="255142"/>
                  </a:lnTo>
                  <a:lnTo>
                    <a:pt x="400685" y="274574"/>
                  </a:lnTo>
                </a:path>
              </a:pathLst>
            </a:custGeom>
            <a:ln w="19812">
              <a:solidFill>
                <a:srgbClr val="527E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8394954" y="2780538"/>
              <a:ext cx="300990" cy="305435"/>
            </a:xfrm>
            <a:custGeom>
              <a:avLst/>
              <a:gdLst/>
              <a:ahLst/>
              <a:cxnLst/>
              <a:rect l="l" t="t" r="r" b="b"/>
              <a:pathLst>
                <a:path w="300990" h="305435">
                  <a:moveTo>
                    <a:pt x="90550" y="0"/>
                  </a:moveTo>
                  <a:lnTo>
                    <a:pt x="282448" y="193801"/>
                  </a:lnTo>
                  <a:lnTo>
                    <a:pt x="296354" y="215153"/>
                  </a:lnTo>
                  <a:lnTo>
                    <a:pt x="300736" y="239649"/>
                  </a:lnTo>
                  <a:lnTo>
                    <a:pt x="295592" y="264239"/>
                  </a:lnTo>
                  <a:lnTo>
                    <a:pt x="280924" y="285876"/>
                  </a:lnTo>
                  <a:lnTo>
                    <a:pt x="259345" y="300323"/>
                  </a:lnTo>
                  <a:lnTo>
                    <a:pt x="234886" y="305339"/>
                  </a:lnTo>
                  <a:lnTo>
                    <a:pt x="210522" y="300878"/>
                  </a:lnTo>
                  <a:lnTo>
                    <a:pt x="189229" y="286892"/>
                  </a:lnTo>
                  <a:lnTo>
                    <a:pt x="0" y="96647"/>
                  </a:lnTo>
                </a:path>
              </a:pathLst>
            </a:custGeom>
            <a:ln w="19811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144319" y="2490216"/>
              <a:ext cx="244189" cy="353567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8527542" y="2916174"/>
              <a:ext cx="100330" cy="103505"/>
            </a:xfrm>
            <a:custGeom>
              <a:avLst/>
              <a:gdLst/>
              <a:ahLst/>
              <a:cxnLst/>
              <a:rect l="l" t="t" r="r" b="b"/>
              <a:pathLst>
                <a:path w="100329" h="103505">
                  <a:moveTo>
                    <a:pt x="100075" y="35178"/>
                  </a:moveTo>
                  <a:lnTo>
                    <a:pt x="35051" y="103504"/>
                  </a:lnTo>
                </a:path>
                <a:path w="100329" h="103505">
                  <a:moveTo>
                    <a:pt x="65024" y="0"/>
                  </a:moveTo>
                  <a:lnTo>
                    <a:pt x="0" y="67055"/>
                  </a:lnTo>
                </a:path>
              </a:pathLst>
            </a:custGeom>
            <a:ln w="19812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9822942" y="3247390"/>
            <a:ext cx="1844039" cy="2049780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marR="5080" algn="ctr">
              <a:lnSpc>
                <a:spcPts val="1939"/>
              </a:lnSpc>
              <a:spcBef>
                <a:spcPts val="345"/>
              </a:spcBef>
            </a:pPr>
            <a:r>
              <a:rPr sz="1800" b="1" spc="-110" dirty="0">
                <a:solidFill>
                  <a:srgbClr val="282828"/>
                </a:solidFill>
                <a:latin typeface="Lucida Sans"/>
                <a:cs typeface="Lucida Sans"/>
              </a:rPr>
              <a:t>Organization- </a:t>
            </a:r>
            <a:r>
              <a:rPr sz="1800" b="1" spc="-105" dirty="0">
                <a:solidFill>
                  <a:srgbClr val="282828"/>
                </a:solidFill>
                <a:latin typeface="Lucida Sans"/>
                <a:cs typeface="Lucida Sans"/>
              </a:rPr>
              <a:t> </a:t>
            </a:r>
            <a:r>
              <a:rPr sz="1800" b="1" spc="-55" dirty="0">
                <a:solidFill>
                  <a:srgbClr val="282828"/>
                </a:solidFill>
                <a:latin typeface="Lucida Sans"/>
                <a:cs typeface="Lucida Sans"/>
              </a:rPr>
              <a:t>level</a:t>
            </a:r>
            <a:r>
              <a:rPr sz="1800" b="1" spc="-114" dirty="0">
                <a:solidFill>
                  <a:srgbClr val="282828"/>
                </a:solidFill>
                <a:latin typeface="Lucida Sans"/>
                <a:cs typeface="Lucida Sans"/>
              </a:rPr>
              <a:t> </a:t>
            </a:r>
            <a:r>
              <a:rPr sz="1800" b="1" spc="-130" dirty="0">
                <a:solidFill>
                  <a:srgbClr val="282828"/>
                </a:solidFill>
                <a:latin typeface="Lucida Sans"/>
                <a:cs typeface="Lucida Sans"/>
              </a:rPr>
              <a:t>consis</a:t>
            </a:r>
            <a:r>
              <a:rPr sz="1800" b="1" spc="-75" dirty="0">
                <a:solidFill>
                  <a:srgbClr val="282828"/>
                </a:solidFill>
                <a:latin typeface="Lucida Sans"/>
                <a:cs typeface="Lucida Sans"/>
              </a:rPr>
              <a:t>tency</a:t>
            </a:r>
            <a:endParaRPr sz="1800" dirty="0">
              <a:latin typeface="Lucida Sans"/>
              <a:cs typeface="Lucida Sans"/>
            </a:endParaRPr>
          </a:p>
          <a:p>
            <a:pPr marL="18415" marR="13970" indent="1905" algn="ctr">
              <a:lnSpc>
                <a:spcPts val="1510"/>
              </a:lnSpc>
              <a:spcBef>
                <a:spcPts val="1250"/>
              </a:spcBef>
            </a:pPr>
            <a:r>
              <a:rPr sz="1400" spc="30" dirty="0">
                <a:solidFill>
                  <a:srgbClr val="222E3D"/>
                </a:solidFill>
                <a:latin typeface="Lucida Sans"/>
                <a:cs typeface="Lucida Sans"/>
              </a:rPr>
              <a:t>We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lang="en-US" sz="1400" spc="-30" dirty="0">
                <a:solidFill>
                  <a:srgbClr val="222E3D"/>
                </a:solidFill>
                <a:latin typeface="Lucida Sans"/>
                <a:cs typeface="Lucida Sans"/>
              </a:rPr>
              <a:t>can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h</a:t>
            </a:r>
            <a:r>
              <a:rPr sz="1400" spc="-35" dirty="0">
                <a:solidFill>
                  <a:srgbClr val="222E3D"/>
                </a:solidFill>
                <a:latin typeface="Lucida Sans"/>
                <a:cs typeface="Lucida Sans"/>
              </a:rPr>
              <a:t>a</a:t>
            </a:r>
            <a:r>
              <a:rPr sz="1400" spc="-25" dirty="0">
                <a:solidFill>
                  <a:srgbClr val="222E3D"/>
                </a:solidFill>
                <a:latin typeface="Lucida Sans"/>
                <a:cs typeface="Lucida Sans"/>
              </a:rPr>
              <a:t>ve</a:t>
            </a:r>
            <a:r>
              <a:rPr sz="1400" spc="-10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25" dirty="0">
                <a:solidFill>
                  <a:srgbClr val="222E3D"/>
                </a:solidFill>
                <a:latin typeface="Lucida Sans"/>
                <a:cs typeface="Lucida Sans"/>
              </a:rPr>
              <a:t>a  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con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60" dirty="0">
                <a:solidFill>
                  <a:srgbClr val="222E3D"/>
                </a:solidFill>
                <a:latin typeface="Lucida Sans"/>
                <a:cs typeface="Lucida Sans"/>
              </a:rPr>
              <a:t>i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25" dirty="0">
                <a:solidFill>
                  <a:srgbClr val="222E3D"/>
                </a:solidFill>
                <a:latin typeface="Lucida Sans"/>
                <a:cs typeface="Lucida Sans"/>
              </a:rPr>
              <a:t>ten</a:t>
            </a:r>
            <a:r>
              <a:rPr sz="1400" spc="10" dirty="0">
                <a:solidFill>
                  <a:srgbClr val="222E3D"/>
                </a:solidFill>
                <a:latin typeface="Lucida Sans"/>
                <a:cs typeface="Lucida Sans"/>
              </a:rPr>
              <a:t>t</a:t>
            </a:r>
            <a:r>
              <a:rPr sz="1400" spc="-12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way</a:t>
            </a:r>
            <a:r>
              <a:rPr sz="1400" spc="-10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15" dirty="0">
                <a:solidFill>
                  <a:srgbClr val="222E3D"/>
                </a:solidFill>
                <a:latin typeface="Lucida Sans"/>
                <a:cs typeface="Lucida Sans"/>
              </a:rPr>
              <a:t>to  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an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aly</a:t>
            </a:r>
            <a:r>
              <a:rPr sz="1400" spc="-90" dirty="0">
                <a:solidFill>
                  <a:srgbClr val="222E3D"/>
                </a:solidFill>
                <a:latin typeface="Lucida Sans"/>
                <a:cs typeface="Lucida Sans"/>
              </a:rPr>
              <a:t>ze</a:t>
            </a:r>
            <a:r>
              <a:rPr sz="1400" spc="-114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hi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30" dirty="0">
                <a:solidFill>
                  <a:srgbClr val="222E3D"/>
                </a:solidFill>
                <a:latin typeface="Lucida Sans"/>
                <a:cs typeface="Lucida Sans"/>
              </a:rPr>
              <a:t>to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r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ic</a:t>
            </a:r>
            <a:r>
              <a:rPr sz="1400" spc="-60" dirty="0">
                <a:solidFill>
                  <a:srgbClr val="222E3D"/>
                </a:solidFill>
                <a:latin typeface="Lucida Sans"/>
                <a:cs typeface="Lucida Sans"/>
              </a:rPr>
              <a:t>a</a:t>
            </a:r>
            <a:r>
              <a:rPr sz="1400" spc="-5" dirty="0">
                <a:solidFill>
                  <a:srgbClr val="222E3D"/>
                </a:solidFill>
                <a:latin typeface="Lucida Sans"/>
                <a:cs typeface="Lucida Sans"/>
              </a:rPr>
              <a:t>l</a:t>
            </a:r>
            <a:r>
              <a:rPr sz="1400" spc="-10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25" dirty="0">
                <a:solidFill>
                  <a:srgbClr val="222E3D"/>
                </a:solidFill>
                <a:latin typeface="Lucida Sans"/>
                <a:cs typeface="Lucida Sans"/>
              </a:rPr>
              <a:t>data  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an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d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65" dirty="0">
                <a:solidFill>
                  <a:srgbClr val="222E3D"/>
                </a:solidFill>
                <a:latin typeface="Lucida Sans"/>
                <a:cs typeface="Lucida Sans"/>
              </a:rPr>
              <a:t>m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ak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e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oper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a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ti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on</a:t>
            </a:r>
            <a:r>
              <a:rPr sz="1400" spc="-35" dirty="0">
                <a:solidFill>
                  <a:srgbClr val="222E3D"/>
                </a:solidFill>
                <a:latin typeface="Lucida Sans"/>
                <a:cs typeface="Lucida Sans"/>
              </a:rPr>
              <a:t>a</a:t>
            </a:r>
            <a:r>
              <a:rPr sz="1400" spc="-5" dirty="0">
                <a:solidFill>
                  <a:srgbClr val="222E3D"/>
                </a:solidFill>
                <a:latin typeface="Lucida Sans"/>
                <a:cs typeface="Lucida Sans"/>
              </a:rPr>
              <a:t>l  </a:t>
            </a:r>
            <a:r>
              <a:rPr sz="1400" spc="-65" dirty="0">
                <a:solidFill>
                  <a:srgbClr val="222E3D"/>
                </a:solidFill>
                <a:latin typeface="Lucida Sans"/>
                <a:cs typeface="Lucida Sans"/>
              </a:rPr>
              <a:t>deci</a:t>
            </a:r>
            <a:r>
              <a:rPr sz="1400" spc="-6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ion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114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55" dirty="0">
                <a:solidFill>
                  <a:srgbClr val="222E3D"/>
                </a:solidFill>
                <a:latin typeface="Lucida Sans"/>
                <a:cs typeface="Lucida Sans"/>
              </a:rPr>
              <a:t>ac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r</a:t>
            </a:r>
            <a:r>
              <a:rPr sz="1400" spc="-85" dirty="0">
                <a:solidFill>
                  <a:srgbClr val="222E3D"/>
                </a:solidFill>
                <a:latin typeface="Lucida Sans"/>
                <a:cs typeface="Lucida Sans"/>
              </a:rPr>
              <a:t>o</a:t>
            </a:r>
            <a:r>
              <a:rPr sz="1400" spc="-65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10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25" dirty="0">
                <a:solidFill>
                  <a:srgbClr val="222E3D"/>
                </a:solidFill>
                <a:latin typeface="Lucida Sans"/>
                <a:cs typeface="Lucida Sans"/>
              </a:rPr>
              <a:t>a  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div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er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40" dirty="0">
                <a:solidFill>
                  <a:srgbClr val="222E3D"/>
                </a:solidFill>
                <a:latin typeface="Lucida Sans"/>
                <a:cs typeface="Lucida Sans"/>
              </a:rPr>
              <a:t>e</a:t>
            </a:r>
            <a:r>
              <a:rPr sz="1400" spc="-12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15" dirty="0">
                <a:solidFill>
                  <a:srgbClr val="222E3D"/>
                </a:solidFill>
                <a:latin typeface="Lucida Sans"/>
                <a:cs typeface="Lucida Sans"/>
              </a:rPr>
              <a:t>et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of</a:t>
            </a:r>
            <a:r>
              <a:rPr sz="1400" spc="-95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in</a:t>
            </a:r>
            <a:r>
              <a:rPr sz="1400" spc="-30" dirty="0">
                <a:solidFill>
                  <a:srgbClr val="222E3D"/>
                </a:solidFill>
                <a:latin typeface="Lucida Sans"/>
                <a:cs typeface="Lucida Sans"/>
              </a:rPr>
              <a:t>te</a:t>
            </a:r>
            <a:r>
              <a:rPr sz="1400" spc="-20" dirty="0">
                <a:solidFill>
                  <a:srgbClr val="222E3D"/>
                </a:solidFill>
                <a:latin typeface="Lucida Sans"/>
                <a:cs typeface="Lucida Sans"/>
              </a:rPr>
              <a:t>r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n</a:t>
            </a:r>
            <a:r>
              <a:rPr sz="1400" spc="-35" dirty="0">
                <a:solidFill>
                  <a:srgbClr val="222E3D"/>
                </a:solidFill>
                <a:latin typeface="Lucida Sans"/>
                <a:cs typeface="Lucida Sans"/>
              </a:rPr>
              <a:t>a</a:t>
            </a:r>
            <a:r>
              <a:rPr sz="1400" spc="-5" dirty="0">
                <a:solidFill>
                  <a:srgbClr val="222E3D"/>
                </a:solidFill>
                <a:latin typeface="Lucida Sans"/>
                <a:cs typeface="Lucida Sans"/>
              </a:rPr>
              <a:t>l  </a:t>
            </a:r>
            <a:r>
              <a:rPr sz="1400" spc="-60" dirty="0">
                <a:solidFill>
                  <a:srgbClr val="222E3D"/>
                </a:solidFill>
                <a:latin typeface="Lucida Sans"/>
                <a:cs typeface="Lucida Sans"/>
              </a:rPr>
              <a:t>b</a:t>
            </a:r>
            <a:r>
              <a:rPr sz="1400" spc="-70" dirty="0">
                <a:solidFill>
                  <a:srgbClr val="222E3D"/>
                </a:solidFill>
                <a:latin typeface="Lucida Sans"/>
                <a:cs typeface="Lucida Sans"/>
              </a:rPr>
              <a:t>u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45" dirty="0">
                <a:solidFill>
                  <a:srgbClr val="222E3D"/>
                </a:solidFill>
                <a:latin typeface="Lucida Sans"/>
                <a:cs typeface="Lucida Sans"/>
              </a:rPr>
              <a:t>in</a:t>
            </a:r>
            <a:r>
              <a:rPr sz="1400" spc="-80" dirty="0">
                <a:solidFill>
                  <a:srgbClr val="222E3D"/>
                </a:solidFill>
                <a:latin typeface="Lucida Sans"/>
                <a:cs typeface="Lucida Sans"/>
              </a:rPr>
              <a:t>e</a:t>
            </a:r>
            <a:r>
              <a:rPr sz="1400" spc="-65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110" dirty="0">
                <a:solidFill>
                  <a:srgbClr val="222E3D"/>
                </a:solidFill>
                <a:latin typeface="Lucida Sans"/>
                <a:cs typeface="Lucida Sans"/>
              </a:rPr>
              <a:t>s</a:t>
            </a:r>
            <a:r>
              <a:rPr sz="1400" spc="-130" dirty="0">
                <a:solidFill>
                  <a:srgbClr val="222E3D"/>
                </a:solidFill>
                <a:latin typeface="Lucida Sans"/>
                <a:cs typeface="Lucida Sans"/>
              </a:rPr>
              <a:t> </a:t>
            </a:r>
            <a:r>
              <a:rPr sz="1400" spc="-50" dirty="0">
                <a:solidFill>
                  <a:srgbClr val="222E3D"/>
                </a:solidFill>
                <a:latin typeface="Lucida Sans"/>
                <a:cs typeface="Lucida Sans"/>
              </a:rPr>
              <a:t>units</a:t>
            </a:r>
            <a:endParaRPr sz="1400" dirty="0">
              <a:latin typeface="Lucida Sans"/>
              <a:cs typeface="Lucida Sans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10352065" y="2151973"/>
            <a:ext cx="790575" cy="859155"/>
            <a:chOff x="10352065" y="2151973"/>
            <a:chExt cx="790575" cy="859155"/>
          </a:xfrm>
        </p:grpSpPr>
        <p:sp>
          <p:nvSpPr>
            <p:cNvPr id="29" name="object 29"/>
            <p:cNvSpPr/>
            <p:nvPr/>
          </p:nvSpPr>
          <p:spPr>
            <a:xfrm>
              <a:off x="10728198" y="2251709"/>
              <a:ext cx="302895" cy="304800"/>
            </a:xfrm>
            <a:custGeom>
              <a:avLst/>
              <a:gdLst/>
              <a:ahLst/>
              <a:cxnLst/>
              <a:rect l="l" t="t" r="r" b="b"/>
              <a:pathLst>
                <a:path w="302895" h="304800">
                  <a:moveTo>
                    <a:pt x="28321" y="242188"/>
                  </a:moveTo>
                  <a:lnTo>
                    <a:pt x="34417" y="249174"/>
                  </a:lnTo>
                  <a:lnTo>
                    <a:pt x="40512" y="256286"/>
                  </a:lnTo>
                  <a:lnTo>
                    <a:pt x="46608" y="263398"/>
                  </a:lnTo>
                  <a:lnTo>
                    <a:pt x="88646" y="241680"/>
                  </a:lnTo>
                  <a:lnTo>
                    <a:pt x="95613" y="246266"/>
                  </a:lnTo>
                  <a:lnTo>
                    <a:pt x="102949" y="250269"/>
                  </a:lnTo>
                  <a:lnTo>
                    <a:pt x="110595" y="253628"/>
                  </a:lnTo>
                  <a:lnTo>
                    <a:pt x="118491" y="256286"/>
                  </a:lnTo>
                  <a:lnTo>
                    <a:pt x="127126" y="302767"/>
                  </a:lnTo>
                  <a:lnTo>
                    <a:pt x="136651" y="303275"/>
                  </a:lnTo>
                  <a:lnTo>
                    <a:pt x="146303" y="303784"/>
                  </a:lnTo>
                  <a:lnTo>
                    <a:pt x="155448" y="304291"/>
                  </a:lnTo>
                  <a:lnTo>
                    <a:pt x="170052" y="259334"/>
                  </a:lnTo>
                  <a:lnTo>
                    <a:pt x="178331" y="257524"/>
                  </a:lnTo>
                  <a:lnTo>
                    <a:pt x="186372" y="255142"/>
                  </a:lnTo>
                  <a:lnTo>
                    <a:pt x="194127" y="252190"/>
                  </a:lnTo>
                  <a:lnTo>
                    <a:pt x="201549" y="248665"/>
                  </a:lnTo>
                  <a:lnTo>
                    <a:pt x="240537" y="275463"/>
                  </a:lnTo>
                  <a:lnTo>
                    <a:pt x="247650" y="269493"/>
                  </a:lnTo>
                  <a:lnTo>
                    <a:pt x="254634" y="263398"/>
                  </a:lnTo>
                  <a:lnTo>
                    <a:pt x="261747" y="257301"/>
                  </a:lnTo>
                  <a:lnTo>
                    <a:pt x="240029" y="215391"/>
                  </a:lnTo>
                  <a:lnTo>
                    <a:pt x="244669" y="208353"/>
                  </a:lnTo>
                  <a:lnTo>
                    <a:pt x="248665" y="200993"/>
                  </a:lnTo>
                  <a:lnTo>
                    <a:pt x="251995" y="193371"/>
                  </a:lnTo>
                  <a:lnTo>
                    <a:pt x="254634" y="185547"/>
                  </a:lnTo>
                  <a:lnTo>
                    <a:pt x="301244" y="176911"/>
                  </a:lnTo>
                  <a:lnTo>
                    <a:pt x="301751" y="167259"/>
                  </a:lnTo>
                  <a:lnTo>
                    <a:pt x="302259" y="157734"/>
                  </a:lnTo>
                  <a:lnTo>
                    <a:pt x="302768" y="148081"/>
                  </a:lnTo>
                  <a:lnTo>
                    <a:pt x="257682" y="133476"/>
                  </a:lnTo>
                  <a:lnTo>
                    <a:pt x="255875" y="125192"/>
                  </a:lnTo>
                  <a:lnTo>
                    <a:pt x="253507" y="117109"/>
                  </a:lnTo>
                  <a:lnTo>
                    <a:pt x="250592" y="109241"/>
                  </a:lnTo>
                  <a:lnTo>
                    <a:pt x="247142" y="101600"/>
                  </a:lnTo>
                  <a:lnTo>
                    <a:pt x="273938" y="62611"/>
                  </a:lnTo>
                  <a:lnTo>
                    <a:pt x="267843" y="55625"/>
                  </a:lnTo>
                  <a:lnTo>
                    <a:pt x="261747" y="48513"/>
                  </a:lnTo>
                  <a:lnTo>
                    <a:pt x="255650" y="41401"/>
                  </a:lnTo>
                  <a:lnTo>
                    <a:pt x="213613" y="63118"/>
                  </a:lnTo>
                  <a:lnTo>
                    <a:pt x="206567" y="58525"/>
                  </a:lnTo>
                  <a:lnTo>
                    <a:pt x="199056" y="54467"/>
                  </a:lnTo>
                  <a:lnTo>
                    <a:pt x="191236" y="50956"/>
                  </a:lnTo>
                  <a:lnTo>
                    <a:pt x="183260" y="48005"/>
                  </a:lnTo>
                  <a:lnTo>
                    <a:pt x="174625" y="1524"/>
                  </a:lnTo>
                  <a:lnTo>
                    <a:pt x="165607" y="1015"/>
                  </a:lnTo>
                  <a:lnTo>
                    <a:pt x="155955" y="507"/>
                  </a:lnTo>
                  <a:lnTo>
                    <a:pt x="146303" y="0"/>
                  </a:lnTo>
                  <a:lnTo>
                    <a:pt x="132079" y="44450"/>
                  </a:lnTo>
                  <a:lnTo>
                    <a:pt x="123866" y="46259"/>
                  </a:lnTo>
                  <a:lnTo>
                    <a:pt x="115808" y="48640"/>
                  </a:lnTo>
                  <a:lnTo>
                    <a:pt x="107916" y="51593"/>
                  </a:lnTo>
                  <a:lnTo>
                    <a:pt x="100202" y="55117"/>
                  </a:lnTo>
                  <a:lnTo>
                    <a:pt x="61722" y="28320"/>
                  </a:lnTo>
                  <a:lnTo>
                    <a:pt x="55625" y="36322"/>
                  </a:lnTo>
                  <a:lnTo>
                    <a:pt x="48641" y="42417"/>
                  </a:lnTo>
                  <a:lnTo>
                    <a:pt x="41528" y="48513"/>
                  </a:lnTo>
                  <a:lnTo>
                    <a:pt x="62737" y="90424"/>
                  </a:lnTo>
                  <a:lnTo>
                    <a:pt x="58090" y="97756"/>
                  </a:lnTo>
                  <a:lnTo>
                    <a:pt x="54038" y="105267"/>
                  </a:lnTo>
                  <a:lnTo>
                    <a:pt x="50557" y="112944"/>
                  </a:lnTo>
                  <a:lnTo>
                    <a:pt x="47625" y="120776"/>
                  </a:lnTo>
                  <a:lnTo>
                    <a:pt x="1524" y="129412"/>
                  </a:lnTo>
                  <a:lnTo>
                    <a:pt x="1016" y="138429"/>
                  </a:lnTo>
                  <a:lnTo>
                    <a:pt x="507" y="147574"/>
                  </a:lnTo>
                  <a:lnTo>
                    <a:pt x="0" y="157225"/>
                  </a:lnTo>
                  <a:lnTo>
                    <a:pt x="45084" y="171830"/>
                  </a:lnTo>
                  <a:lnTo>
                    <a:pt x="46892" y="180097"/>
                  </a:lnTo>
                  <a:lnTo>
                    <a:pt x="49260" y="188150"/>
                  </a:lnTo>
                  <a:lnTo>
                    <a:pt x="52175" y="196012"/>
                  </a:lnTo>
                  <a:lnTo>
                    <a:pt x="55625" y="203707"/>
                  </a:lnTo>
                  <a:lnTo>
                    <a:pt x="28321" y="242188"/>
                  </a:lnTo>
                  <a:close/>
                </a:path>
              </a:pathLst>
            </a:custGeom>
            <a:ln w="19812">
              <a:solidFill>
                <a:srgbClr val="527E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0" name="object 3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809732" y="2334640"/>
              <a:ext cx="141731" cy="140461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10675874" y="2161879"/>
              <a:ext cx="450215" cy="305435"/>
            </a:xfrm>
            <a:custGeom>
              <a:avLst/>
              <a:gdLst/>
              <a:ahLst/>
              <a:cxnLst/>
              <a:rect l="l" t="t" r="r" b="b"/>
              <a:pathLst>
                <a:path w="450215" h="305435">
                  <a:moveTo>
                    <a:pt x="0" y="110531"/>
                  </a:moveTo>
                  <a:lnTo>
                    <a:pt x="48521" y="55844"/>
                  </a:lnTo>
                  <a:lnTo>
                    <a:pt x="83706" y="31912"/>
                  </a:lnTo>
                  <a:lnTo>
                    <a:pt x="124809" y="13170"/>
                  </a:lnTo>
                  <a:lnTo>
                    <a:pt x="170805" y="1804"/>
                  </a:lnTo>
                  <a:lnTo>
                    <a:pt x="220670" y="0"/>
                  </a:lnTo>
                  <a:lnTo>
                    <a:pt x="273381" y="9944"/>
                  </a:lnTo>
                  <a:lnTo>
                    <a:pt x="327914" y="33823"/>
                  </a:lnTo>
                  <a:lnTo>
                    <a:pt x="385746" y="81211"/>
                  </a:lnTo>
                  <a:lnTo>
                    <a:pt x="411616" y="115006"/>
                  </a:lnTo>
                  <a:lnTo>
                    <a:pt x="432436" y="154840"/>
                  </a:lnTo>
                  <a:lnTo>
                    <a:pt x="445942" y="200189"/>
                  </a:lnTo>
                  <a:lnTo>
                    <a:pt x="449871" y="250533"/>
                  </a:lnTo>
                  <a:lnTo>
                    <a:pt x="441959" y="305349"/>
                  </a:lnTo>
                </a:path>
              </a:pathLst>
            </a:custGeom>
            <a:ln w="19812">
              <a:solidFill>
                <a:srgbClr val="527E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11101451" y="2442209"/>
              <a:ext cx="36195" cy="35560"/>
            </a:xfrm>
            <a:custGeom>
              <a:avLst/>
              <a:gdLst/>
              <a:ahLst/>
              <a:cxnLst/>
              <a:rect l="l" t="t" r="r" b="b"/>
              <a:pathLst>
                <a:path w="36195" h="35560">
                  <a:moveTo>
                    <a:pt x="3555" y="0"/>
                  </a:moveTo>
                  <a:lnTo>
                    <a:pt x="0" y="14477"/>
                  </a:lnTo>
                  <a:lnTo>
                    <a:pt x="12446" y="35560"/>
                  </a:lnTo>
                  <a:lnTo>
                    <a:pt x="32766" y="22732"/>
                  </a:lnTo>
                  <a:lnTo>
                    <a:pt x="36195" y="8254"/>
                  </a:lnTo>
                  <a:lnTo>
                    <a:pt x="15875" y="21081"/>
                  </a:lnTo>
                  <a:lnTo>
                    <a:pt x="3555" y="0"/>
                  </a:lnTo>
                  <a:close/>
                </a:path>
              </a:pathLst>
            </a:custGeom>
            <a:solidFill>
              <a:srgbClr val="527E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1101451" y="2442209"/>
              <a:ext cx="36195" cy="35560"/>
            </a:xfrm>
            <a:custGeom>
              <a:avLst/>
              <a:gdLst/>
              <a:ahLst/>
              <a:cxnLst/>
              <a:rect l="l" t="t" r="r" b="b"/>
              <a:pathLst>
                <a:path w="36195" h="35560">
                  <a:moveTo>
                    <a:pt x="3555" y="0"/>
                  </a:moveTo>
                  <a:lnTo>
                    <a:pt x="15875" y="21081"/>
                  </a:lnTo>
                  <a:lnTo>
                    <a:pt x="36195" y="8254"/>
                  </a:lnTo>
                  <a:lnTo>
                    <a:pt x="32766" y="22732"/>
                  </a:lnTo>
                  <a:lnTo>
                    <a:pt x="12446" y="35560"/>
                  </a:lnTo>
                  <a:lnTo>
                    <a:pt x="0" y="14477"/>
                  </a:lnTo>
                  <a:lnTo>
                    <a:pt x="3555" y="0"/>
                  </a:lnTo>
                  <a:close/>
                </a:path>
              </a:pathLst>
            </a:custGeom>
            <a:ln w="9144">
              <a:solidFill>
                <a:srgbClr val="527E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4" name="object 3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0856468" y="2521711"/>
              <a:ext cx="243839" cy="139699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10636377" y="2345689"/>
              <a:ext cx="8255" cy="119380"/>
            </a:xfrm>
            <a:custGeom>
              <a:avLst/>
              <a:gdLst/>
              <a:ahLst/>
              <a:cxnLst/>
              <a:rect l="l" t="t" r="r" b="b"/>
              <a:pathLst>
                <a:path w="8254" h="119380">
                  <a:moveTo>
                    <a:pt x="7747" y="118872"/>
                  </a:moveTo>
                  <a:lnTo>
                    <a:pt x="2111" y="91600"/>
                  </a:lnTo>
                  <a:lnTo>
                    <a:pt x="0" y="62626"/>
                  </a:lnTo>
                  <a:lnTo>
                    <a:pt x="1889" y="32057"/>
                  </a:lnTo>
                  <a:lnTo>
                    <a:pt x="8254" y="0"/>
                  </a:lnTo>
                </a:path>
              </a:pathLst>
            </a:custGeom>
            <a:ln w="19812">
              <a:solidFill>
                <a:srgbClr val="527E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10621518" y="2333878"/>
              <a:ext cx="38100" cy="34290"/>
            </a:xfrm>
            <a:custGeom>
              <a:avLst/>
              <a:gdLst/>
              <a:ahLst/>
              <a:cxnLst/>
              <a:rect l="l" t="t" r="r" b="b"/>
              <a:pathLst>
                <a:path w="38100" h="34289">
                  <a:moveTo>
                    <a:pt x="25273" y="0"/>
                  </a:moveTo>
                  <a:lnTo>
                    <a:pt x="4190" y="11937"/>
                  </a:lnTo>
                  <a:lnTo>
                    <a:pt x="0" y="25781"/>
                  </a:lnTo>
                  <a:lnTo>
                    <a:pt x="21589" y="13843"/>
                  </a:lnTo>
                  <a:lnTo>
                    <a:pt x="34035" y="34162"/>
                  </a:lnTo>
                  <a:lnTo>
                    <a:pt x="37591" y="20320"/>
                  </a:lnTo>
                  <a:lnTo>
                    <a:pt x="25273" y="0"/>
                  </a:lnTo>
                  <a:close/>
                </a:path>
              </a:pathLst>
            </a:custGeom>
            <a:solidFill>
              <a:srgbClr val="527E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10621518" y="2333878"/>
              <a:ext cx="38100" cy="34290"/>
            </a:xfrm>
            <a:custGeom>
              <a:avLst/>
              <a:gdLst/>
              <a:ahLst/>
              <a:cxnLst/>
              <a:rect l="l" t="t" r="r" b="b"/>
              <a:pathLst>
                <a:path w="38100" h="34289">
                  <a:moveTo>
                    <a:pt x="34035" y="34162"/>
                  </a:moveTo>
                  <a:lnTo>
                    <a:pt x="21589" y="13843"/>
                  </a:lnTo>
                  <a:lnTo>
                    <a:pt x="0" y="25781"/>
                  </a:lnTo>
                  <a:lnTo>
                    <a:pt x="4190" y="11937"/>
                  </a:lnTo>
                  <a:lnTo>
                    <a:pt x="25273" y="0"/>
                  </a:lnTo>
                  <a:lnTo>
                    <a:pt x="37591" y="20320"/>
                  </a:lnTo>
                  <a:lnTo>
                    <a:pt x="34035" y="34162"/>
                  </a:lnTo>
                  <a:close/>
                </a:path>
              </a:pathLst>
            </a:custGeom>
            <a:ln w="9144">
              <a:solidFill>
                <a:srgbClr val="527E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10361971" y="2511252"/>
              <a:ext cx="442595" cy="431800"/>
            </a:xfrm>
            <a:custGeom>
              <a:avLst/>
              <a:gdLst/>
              <a:ahLst/>
              <a:cxnLst/>
              <a:rect l="l" t="t" r="r" b="b"/>
              <a:pathLst>
                <a:path w="442595" h="431800">
                  <a:moveTo>
                    <a:pt x="442299" y="101137"/>
                  </a:moveTo>
                  <a:lnTo>
                    <a:pt x="391346" y="49041"/>
                  </a:lnTo>
                  <a:lnTo>
                    <a:pt x="356290" y="27014"/>
                  </a:lnTo>
                  <a:lnTo>
                    <a:pt x="316045" y="10221"/>
                  </a:lnTo>
                  <a:lnTo>
                    <a:pt x="271507" y="578"/>
                  </a:lnTo>
                  <a:lnTo>
                    <a:pt x="223575" y="0"/>
                  </a:lnTo>
                  <a:lnTo>
                    <a:pt x="173145" y="10402"/>
                  </a:lnTo>
                  <a:lnTo>
                    <a:pt x="121116" y="33700"/>
                  </a:lnTo>
                  <a:lnTo>
                    <a:pt x="89674" y="55956"/>
                  </a:lnTo>
                  <a:lnTo>
                    <a:pt x="59103" y="86349"/>
                  </a:lnTo>
                  <a:lnTo>
                    <a:pt x="32227" y="124271"/>
                  </a:lnTo>
                  <a:lnTo>
                    <a:pt x="11867" y="169113"/>
                  </a:lnTo>
                  <a:lnTo>
                    <a:pt x="847" y="220263"/>
                  </a:lnTo>
                  <a:lnTo>
                    <a:pt x="0" y="242317"/>
                  </a:lnTo>
                  <a:lnTo>
                    <a:pt x="5498" y="296685"/>
                  </a:lnTo>
                  <a:lnTo>
                    <a:pt x="29404" y="365674"/>
                  </a:lnTo>
                  <a:lnTo>
                    <a:pt x="83778" y="431591"/>
                  </a:lnTo>
                </a:path>
              </a:pathLst>
            </a:custGeom>
            <a:ln w="19812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10778363" y="2585465"/>
              <a:ext cx="36195" cy="36830"/>
            </a:xfrm>
            <a:custGeom>
              <a:avLst/>
              <a:gdLst/>
              <a:ahLst/>
              <a:cxnLst/>
              <a:rect l="l" t="t" r="r" b="b"/>
              <a:pathLst>
                <a:path w="36195" h="36830">
                  <a:moveTo>
                    <a:pt x="28320" y="0"/>
                  </a:moveTo>
                  <a:lnTo>
                    <a:pt x="23367" y="24257"/>
                  </a:lnTo>
                  <a:lnTo>
                    <a:pt x="0" y="19050"/>
                  </a:lnTo>
                  <a:lnTo>
                    <a:pt x="8000" y="31876"/>
                  </a:lnTo>
                  <a:lnTo>
                    <a:pt x="31241" y="36575"/>
                  </a:lnTo>
                  <a:lnTo>
                    <a:pt x="36194" y="12954"/>
                  </a:lnTo>
                  <a:lnTo>
                    <a:pt x="28320" y="0"/>
                  </a:lnTo>
                  <a:close/>
                </a:path>
              </a:pathLst>
            </a:custGeom>
            <a:solidFill>
              <a:srgbClr val="222E3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10778363" y="2585465"/>
              <a:ext cx="36195" cy="36830"/>
            </a:xfrm>
            <a:custGeom>
              <a:avLst/>
              <a:gdLst/>
              <a:ahLst/>
              <a:cxnLst/>
              <a:rect l="l" t="t" r="r" b="b"/>
              <a:pathLst>
                <a:path w="36195" h="36830">
                  <a:moveTo>
                    <a:pt x="28320" y="0"/>
                  </a:moveTo>
                  <a:lnTo>
                    <a:pt x="23367" y="24257"/>
                  </a:lnTo>
                  <a:lnTo>
                    <a:pt x="0" y="19050"/>
                  </a:lnTo>
                  <a:lnTo>
                    <a:pt x="8000" y="31876"/>
                  </a:lnTo>
                  <a:lnTo>
                    <a:pt x="31241" y="36575"/>
                  </a:lnTo>
                  <a:lnTo>
                    <a:pt x="36194" y="12954"/>
                  </a:lnTo>
                  <a:lnTo>
                    <a:pt x="28320" y="0"/>
                  </a:lnTo>
                  <a:close/>
                </a:path>
              </a:pathLst>
            </a:custGeom>
            <a:ln w="9143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10508234" y="2684017"/>
              <a:ext cx="342265" cy="317500"/>
            </a:xfrm>
            <a:custGeom>
              <a:avLst/>
              <a:gdLst/>
              <a:ahLst/>
              <a:cxnLst/>
              <a:rect l="l" t="t" r="r" b="b"/>
              <a:pathLst>
                <a:path w="342265" h="317500">
                  <a:moveTo>
                    <a:pt x="0" y="296291"/>
                  </a:moveTo>
                  <a:lnTo>
                    <a:pt x="38586" y="309925"/>
                  </a:lnTo>
                  <a:lnTo>
                    <a:pt x="80702" y="317007"/>
                  </a:lnTo>
                  <a:lnTo>
                    <a:pt x="125611" y="315950"/>
                  </a:lnTo>
                  <a:lnTo>
                    <a:pt x="172573" y="305170"/>
                  </a:lnTo>
                  <a:lnTo>
                    <a:pt x="220852" y="283083"/>
                  </a:lnTo>
                  <a:lnTo>
                    <a:pt x="279746" y="233981"/>
                  </a:lnTo>
                  <a:lnTo>
                    <a:pt x="305914" y="198764"/>
                  </a:lnTo>
                  <a:lnTo>
                    <a:pt x="326617" y="157190"/>
                  </a:lnTo>
                  <a:lnTo>
                    <a:pt x="339396" y="109827"/>
                  </a:lnTo>
                  <a:lnTo>
                    <a:pt x="341791" y="57242"/>
                  </a:lnTo>
                  <a:lnTo>
                    <a:pt x="331343" y="0"/>
                  </a:lnTo>
                </a:path>
              </a:pathLst>
            </a:custGeom>
            <a:ln w="19812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10496423" y="2966338"/>
              <a:ext cx="35560" cy="36830"/>
            </a:xfrm>
            <a:custGeom>
              <a:avLst/>
              <a:gdLst/>
              <a:ahLst/>
              <a:cxnLst/>
              <a:rect l="l" t="t" r="r" b="b"/>
              <a:pathLst>
                <a:path w="35559" h="36830">
                  <a:moveTo>
                    <a:pt x="22351" y="0"/>
                  </a:moveTo>
                  <a:lnTo>
                    <a:pt x="0" y="8509"/>
                  </a:lnTo>
                  <a:lnTo>
                    <a:pt x="8890" y="30734"/>
                  </a:lnTo>
                  <a:lnTo>
                    <a:pt x="21844" y="36702"/>
                  </a:lnTo>
                  <a:lnTo>
                    <a:pt x="12953" y="14350"/>
                  </a:lnTo>
                  <a:lnTo>
                    <a:pt x="35178" y="5461"/>
                  </a:lnTo>
                  <a:lnTo>
                    <a:pt x="22351" y="0"/>
                  </a:lnTo>
                  <a:close/>
                </a:path>
              </a:pathLst>
            </a:custGeom>
            <a:solidFill>
              <a:srgbClr val="222E3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10496423" y="2966338"/>
              <a:ext cx="35560" cy="36830"/>
            </a:xfrm>
            <a:custGeom>
              <a:avLst/>
              <a:gdLst/>
              <a:ahLst/>
              <a:cxnLst/>
              <a:rect l="l" t="t" r="r" b="b"/>
              <a:pathLst>
                <a:path w="35559" h="36830">
                  <a:moveTo>
                    <a:pt x="21844" y="36702"/>
                  </a:moveTo>
                  <a:lnTo>
                    <a:pt x="12953" y="14350"/>
                  </a:lnTo>
                  <a:lnTo>
                    <a:pt x="35178" y="5461"/>
                  </a:lnTo>
                  <a:lnTo>
                    <a:pt x="22351" y="0"/>
                  </a:lnTo>
                  <a:lnTo>
                    <a:pt x="0" y="8509"/>
                  </a:lnTo>
                  <a:lnTo>
                    <a:pt x="8890" y="30734"/>
                  </a:lnTo>
                  <a:lnTo>
                    <a:pt x="21844" y="36702"/>
                  </a:lnTo>
                  <a:close/>
                </a:path>
              </a:pathLst>
            </a:custGeom>
            <a:ln w="9144">
              <a:solidFill>
                <a:srgbClr val="222E3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4" name="object 4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475214" y="2640329"/>
              <a:ext cx="244856" cy="244856"/>
            </a:xfrm>
            <a:prstGeom prst="rect">
              <a:avLst/>
            </a:prstGeom>
          </p:spPr>
        </p:pic>
      </p:grpSp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2FB83-4C36-408E-8787-9C35D16EE7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x. Resources, Time and RO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666546-327B-490F-A4CD-46CFDAFA41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266826"/>
            <a:ext cx="11379200" cy="4976732"/>
          </a:xfrm>
        </p:spPr>
        <p:txBody>
          <a:bodyPr/>
          <a:lstStyle/>
          <a:p>
            <a:r>
              <a:rPr lang="en-US" sz="2400" dirty="0" err="1"/>
              <a:t>Approx</a:t>
            </a:r>
            <a:r>
              <a:rPr lang="en-US" sz="2400" dirty="0"/>
              <a:t> time taken for the Analysis, suggestions and POC (1- 2 applications with approx. 10 – 20 VMs/containers: 3 to 4 Weeks.</a:t>
            </a:r>
          </a:p>
          <a:p>
            <a:r>
              <a:rPr lang="en-US" sz="2400" dirty="0"/>
              <a:t>Approx. resources requirement: 1 Sr. DevOps SME, 2 DevOps Engr.</a:t>
            </a:r>
          </a:p>
          <a:p>
            <a:r>
              <a:rPr lang="en-US" sz="2400" dirty="0"/>
              <a:t>Build of 16 </a:t>
            </a:r>
            <a:r>
              <a:rPr lang="en-US" sz="2400" dirty="0" err="1"/>
              <a:t>hrs</a:t>
            </a:r>
            <a:r>
              <a:rPr lang="en-US" sz="2400" dirty="0"/>
              <a:t> can be converted into 5 mins using modularization.</a:t>
            </a:r>
          </a:p>
          <a:p>
            <a:r>
              <a:rPr lang="en-US" sz="2400" dirty="0"/>
              <a:t>Every commit can be deployed in production with confidence.</a:t>
            </a:r>
          </a:p>
          <a:p>
            <a:r>
              <a:rPr lang="en-US" sz="2400" dirty="0"/>
              <a:t>ROI in terms of time , money and resources: ¾ reduc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0538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80387" y="332359"/>
            <a:ext cx="3411854" cy="391160"/>
          </a:xfrm>
          <a:prstGeom prst="rect">
            <a:avLst/>
          </a:prstGeom>
        </p:spPr>
        <p:txBody>
          <a:bodyPr vert="horz" wrap="square" lIns="0" tIns="1270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094D80"/>
                </a:solidFill>
              </a:rPr>
              <a:t>DevOps</a:t>
            </a:r>
            <a:r>
              <a:rPr spc="-20" dirty="0">
                <a:solidFill>
                  <a:srgbClr val="094D80"/>
                </a:solidFill>
              </a:rPr>
              <a:t> </a:t>
            </a:r>
            <a:r>
              <a:rPr spc="-5" dirty="0">
                <a:solidFill>
                  <a:srgbClr val="094D80"/>
                </a:solidFill>
              </a:rPr>
              <a:t>Maturity</a:t>
            </a:r>
            <a:r>
              <a:rPr spc="-30" dirty="0">
                <a:solidFill>
                  <a:srgbClr val="094D80"/>
                </a:solidFill>
              </a:rPr>
              <a:t> </a:t>
            </a:r>
            <a:r>
              <a:rPr dirty="0">
                <a:solidFill>
                  <a:srgbClr val="094D80"/>
                </a:solidFill>
              </a:rPr>
              <a:t>Model</a:t>
            </a:r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978151" y="3976116"/>
            <a:ext cx="8235950" cy="1144929"/>
          </a:xfrm>
          <a:prstGeom prst="rect">
            <a:avLst/>
          </a:prstGeom>
          <a:ln w="9144">
            <a:solidFill>
              <a:srgbClr val="927864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3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300" dirty="0">
              <a:latin typeface="Times New Roman"/>
              <a:cs typeface="Times New Roman"/>
            </a:endParaRPr>
          </a:p>
          <a:p>
            <a:pPr marL="136525" marR="7167245">
              <a:lnSpc>
                <a:spcPct val="110000"/>
              </a:lnSpc>
              <a:spcBef>
                <a:spcPts val="1120"/>
              </a:spcBef>
            </a:pPr>
            <a:r>
              <a:rPr sz="1200" b="1" spc="-5" dirty="0">
                <a:solidFill>
                  <a:srgbClr val="2D2D2D"/>
                </a:solidFill>
                <a:latin typeface="Arial"/>
                <a:cs typeface="Arial"/>
              </a:rPr>
              <a:t>You</a:t>
            </a:r>
            <a:r>
              <a:rPr sz="1200" b="1" spc="-15" dirty="0">
                <a:solidFill>
                  <a:srgbClr val="2D2D2D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2D2D2D"/>
                </a:solidFill>
                <a:latin typeface="Arial"/>
                <a:cs typeface="Arial"/>
              </a:rPr>
              <a:t>are</a:t>
            </a:r>
            <a:r>
              <a:rPr sz="1200" b="1" spc="-45" dirty="0">
                <a:solidFill>
                  <a:srgbClr val="2D2D2D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2D2D2D"/>
                </a:solidFill>
                <a:latin typeface="Arial"/>
                <a:cs typeface="Arial"/>
              </a:rPr>
              <a:t>here </a:t>
            </a:r>
            <a:r>
              <a:rPr sz="1200" b="1" spc="-320" dirty="0">
                <a:solidFill>
                  <a:srgbClr val="2D2D2D"/>
                </a:solidFill>
                <a:latin typeface="Arial"/>
                <a:cs typeface="Arial"/>
              </a:rPr>
              <a:t> </a:t>
            </a:r>
            <a:r>
              <a:rPr sz="1200" b="1" spc="5" dirty="0">
                <a:solidFill>
                  <a:srgbClr val="2D2D2D"/>
                </a:solidFill>
                <a:latin typeface="Arial"/>
                <a:cs typeface="Arial"/>
              </a:rPr>
              <a:t>when</a:t>
            </a:r>
            <a:r>
              <a:rPr sz="1200" b="1" spc="-40" dirty="0">
                <a:solidFill>
                  <a:srgbClr val="2D2D2D"/>
                </a:solidFill>
                <a:latin typeface="Arial"/>
                <a:cs typeface="Arial"/>
              </a:rPr>
              <a:t> </a:t>
            </a:r>
            <a:r>
              <a:rPr sz="1200" b="1" spc="-15" dirty="0">
                <a:solidFill>
                  <a:srgbClr val="2D2D2D"/>
                </a:solidFill>
                <a:latin typeface="Arial"/>
                <a:cs typeface="Arial"/>
              </a:rPr>
              <a:t>you</a:t>
            </a:r>
            <a:endParaRPr sz="1200" dirty="0">
              <a:latin typeface="Arial"/>
              <a:cs typeface="Arial"/>
            </a:endParaRPr>
          </a:p>
          <a:p>
            <a:pPr marL="136525">
              <a:spcBef>
                <a:spcPts val="140"/>
              </a:spcBef>
            </a:pPr>
            <a:r>
              <a:rPr sz="1200" b="1" spc="-5" dirty="0">
                <a:solidFill>
                  <a:srgbClr val="2D2D2D"/>
                </a:solidFill>
                <a:latin typeface="Arial"/>
                <a:cs typeface="Arial"/>
              </a:rPr>
              <a:t>have…</a:t>
            </a:r>
            <a:endParaRPr sz="1200" dirty="0">
              <a:latin typeface="Arial"/>
              <a:cs typeface="Arial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1968817" y="1272539"/>
            <a:ext cx="8249920" cy="2595880"/>
            <a:chOff x="444817" y="1272539"/>
            <a:chExt cx="8249920" cy="2595880"/>
          </a:xfrm>
        </p:grpSpPr>
        <p:sp>
          <p:nvSpPr>
            <p:cNvPr id="5" name="object 5"/>
            <p:cNvSpPr/>
            <p:nvPr/>
          </p:nvSpPr>
          <p:spPr>
            <a:xfrm>
              <a:off x="2342387" y="1272539"/>
              <a:ext cx="6352540" cy="1104900"/>
            </a:xfrm>
            <a:custGeom>
              <a:avLst/>
              <a:gdLst/>
              <a:ahLst/>
              <a:cxnLst/>
              <a:rect l="l" t="t" r="r" b="b"/>
              <a:pathLst>
                <a:path w="6352540" h="1104900">
                  <a:moveTo>
                    <a:pt x="5799582" y="0"/>
                  </a:moveTo>
                  <a:lnTo>
                    <a:pt x="5799582" y="276225"/>
                  </a:lnTo>
                  <a:lnTo>
                    <a:pt x="0" y="276225"/>
                  </a:lnTo>
                  <a:lnTo>
                    <a:pt x="0" y="828675"/>
                  </a:lnTo>
                  <a:lnTo>
                    <a:pt x="5799582" y="828675"/>
                  </a:lnTo>
                  <a:lnTo>
                    <a:pt x="5799582" y="1104900"/>
                  </a:lnTo>
                  <a:lnTo>
                    <a:pt x="6352032" y="552450"/>
                  </a:lnTo>
                  <a:lnTo>
                    <a:pt x="5799582" y="0"/>
                  </a:lnTo>
                  <a:close/>
                </a:path>
              </a:pathLst>
            </a:custGeom>
            <a:solidFill>
              <a:srgbClr val="094D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49580" y="2311907"/>
              <a:ext cx="1463040" cy="1551940"/>
            </a:xfrm>
            <a:custGeom>
              <a:avLst/>
              <a:gdLst/>
              <a:ahLst/>
              <a:cxnLst/>
              <a:rect l="l" t="t" r="r" b="b"/>
              <a:pathLst>
                <a:path w="1463039" h="1551939">
                  <a:moveTo>
                    <a:pt x="0" y="1551432"/>
                  </a:moveTo>
                  <a:lnTo>
                    <a:pt x="1463039" y="1551432"/>
                  </a:lnTo>
                  <a:lnTo>
                    <a:pt x="1463039" y="0"/>
                  </a:lnTo>
                  <a:lnTo>
                    <a:pt x="0" y="0"/>
                  </a:lnTo>
                  <a:lnTo>
                    <a:pt x="0" y="1551432"/>
                  </a:lnTo>
                  <a:close/>
                </a:path>
              </a:pathLst>
            </a:custGeom>
            <a:ln w="9144">
              <a:solidFill>
                <a:srgbClr val="7DBBE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2037849" y="2652423"/>
            <a:ext cx="276999" cy="873125"/>
          </a:xfrm>
          <a:prstGeom prst="rect">
            <a:avLst/>
          </a:prstGeom>
        </p:spPr>
        <p:txBody>
          <a:bodyPr vert="vert270" wrap="square" lIns="0" tIns="1905" rIns="0" bIns="0" rtlCol="0">
            <a:spAutoFit/>
          </a:bodyPr>
          <a:lstStyle/>
          <a:p>
            <a:pPr marL="123825" marR="5080" indent="-111760">
              <a:spcBef>
                <a:spcPts val="15"/>
              </a:spcBef>
            </a:pPr>
            <a:r>
              <a:rPr sz="900" b="1" dirty="0">
                <a:solidFill>
                  <a:srgbClr val="2D2D2D"/>
                </a:solidFill>
                <a:latin typeface="Arial"/>
                <a:cs typeface="Arial"/>
              </a:rPr>
              <a:t>Implement</a:t>
            </a:r>
            <a:r>
              <a:rPr sz="900" b="1" spc="5" dirty="0">
                <a:solidFill>
                  <a:srgbClr val="2D2D2D"/>
                </a:solidFill>
                <a:latin typeface="Arial"/>
                <a:cs typeface="Arial"/>
              </a:rPr>
              <a:t>a</a:t>
            </a:r>
            <a:r>
              <a:rPr sz="900" b="1" dirty="0">
                <a:solidFill>
                  <a:srgbClr val="2D2D2D"/>
                </a:solidFill>
                <a:latin typeface="Arial"/>
                <a:cs typeface="Arial"/>
              </a:rPr>
              <a:t>tion  </a:t>
            </a:r>
            <a:r>
              <a:rPr sz="900" b="1" spc="-5" dirty="0">
                <a:solidFill>
                  <a:srgbClr val="2D2D2D"/>
                </a:solidFill>
                <a:latin typeface="Arial"/>
                <a:cs typeface="Arial"/>
              </a:rPr>
              <a:t>Parameters</a:t>
            </a:r>
            <a:endParaRPr sz="9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414017" y="2755392"/>
            <a:ext cx="986155" cy="274320"/>
          </a:xfrm>
          <a:custGeom>
            <a:avLst/>
            <a:gdLst/>
            <a:ahLst/>
            <a:cxnLst/>
            <a:rect l="l" t="t" r="r" b="b"/>
            <a:pathLst>
              <a:path w="986155" h="274319">
                <a:moveTo>
                  <a:pt x="986028" y="0"/>
                </a:moveTo>
                <a:lnTo>
                  <a:pt x="0" y="0"/>
                </a:lnTo>
                <a:lnTo>
                  <a:pt x="0" y="274320"/>
                </a:lnTo>
                <a:lnTo>
                  <a:pt x="986028" y="274320"/>
                </a:lnTo>
                <a:lnTo>
                  <a:pt x="986028" y="0"/>
                </a:lnTo>
                <a:close/>
              </a:path>
            </a:pathLst>
          </a:custGeom>
          <a:solidFill>
            <a:srgbClr val="CAE3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2596389" y="2816479"/>
            <a:ext cx="620395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800" b="1" spc="-45" dirty="0">
                <a:solidFill>
                  <a:srgbClr val="001F5F"/>
                </a:solidFill>
                <a:latin typeface="Arial"/>
                <a:cs typeface="Arial"/>
              </a:rPr>
              <a:t>A</a:t>
            </a:r>
            <a:r>
              <a:rPr sz="800" b="1" dirty="0">
                <a:solidFill>
                  <a:srgbClr val="001F5F"/>
                </a:solidFill>
                <a:latin typeface="Arial"/>
                <a:cs typeface="Arial"/>
              </a:rPr>
              <a:t>r</a:t>
            </a:r>
            <a:r>
              <a:rPr sz="800" b="1" spc="-5" dirty="0">
                <a:solidFill>
                  <a:srgbClr val="001F5F"/>
                </a:solidFill>
                <a:latin typeface="Arial"/>
                <a:cs typeface="Arial"/>
              </a:rPr>
              <a:t>c</a:t>
            </a:r>
            <a:r>
              <a:rPr sz="800" b="1" dirty="0">
                <a:solidFill>
                  <a:srgbClr val="001F5F"/>
                </a:solidFill>
                <a:latin typeface="Arial"/>
                <a:cs typeface="Arial"/>
              </a:rPr>
              <a:t>hi</a:t>
            </a:r>
            <a:r>
              <a:rPr sz="800" b="1" spc="-5" dirty="0">
                <a:solidFill>
                  <a:srgbClr val="001F5F"/>
                </a:solidFill>
                <a:latin typeface="Arial"/>
                <a:cs typeface="Arial"/>
              </a:rPr>
              <a:t>tect</a:t>
            </a:r>
            <a:r>
              <a:rPr sz="800" b="1" dirty="0">
                <a:solidFill>
                  <a:srgbClr val="001F5F"/>
                </a:solidFill>
                <a:latin typeface="Arial"/>
                <a:cs typeface="Arial"/>
              </a:rPr>
              <a:t>ure</a:t>
            </a:r>
            <a:endParaRPr sz="8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414017" y="2359151"/>
            <a:ext cx="986155" cy="274320"/>
          </a:xfrm>
          <a:custGeom>
            <a:avLst/>
            <a:gdLst/>
            <a:ahLst/>
            <a:cxnLst/>
            <a:rect l="l" t="t" r="r" b="b"/>
            <a:pathLst>
              <a:path w="986155" h="274319">
                <a:moveTo>
                  <a:pt x="986028" y="0"/>
                </a:moveTo>
                <a:lnTo>
                  <a:pt x="0" y="0"/>
                </a:lnTo>
                <a:lnTo>
                  <a:pt x="0" y="274320"/>
                </a:lnTo>
                <a:lnTo>
                  <a:pt x="986028" y="274320"/>
                </a:lnTo>
                <a:lnTo>
                  <a:pt x="986028" y="0"/>
                </a:lnTo>
                <a:close/>
              </a:path>
            </a:pathLst>
          </a:custGeom>
          <a:solidFill>
            <a:srgbClr val="CAE3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2715260" y="2420874"/>
            <a:ext cx="38227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800" b="1" spc="-5" dirty="0">
                <a:solidFill>
                  <a:srgbClr val="001F5F"/>
                </a:solidFill>
                <a:latin typeface="Arial"/>
                <a:cs typeface="Arial"/>
              </a:rPr>
              <a:t>C</a:t>
            </a:r>
            <a:r>
              <a:rPr sz="800" b="1" dirty="0">
                <a:solidFill>
                  <a:srgbClr val="001F5F"/>
                </a:solidFill>
                <a:latin typeface="Arial"/>
                <a:cs typeface="Arial"/>
              </a:rPr>
              <a:t>ul</a:t>
            </a:r>
            <a:r>
              <a:rPr sz="800" b="1" spc="-5" dirty="0">
                <a:solidFill>
                  <a:srgbClr val="001F5F"/>
                </a:solidFill>
                <a:latin typeface="Arial"/>
                <a:cs typeface="Arial"/>
              </a:rPr>
              <a:t>t</a:t>
            </a:r>
            <a:r>
              <a:rPr sz="800" b="1" dirty="0">
                <a:solidFill>
                  <a:srgbClr val="001F5F"/>
                </a:solidFill>
                <a:latin typeface="Arial"/>
                <a:cs typeface="Arial"/>
              </a:rPr>
              <a:t>ure</a:t>
            </a:r>
            <a:endParaRPr sz="800">
              <a:latin typeface="Arial"/>
              <a:cs typeface="Arial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3497516" y="1975040"/>
            <a:ext cx="1201420" cy="287020"/>
            <a:chOff x="1973516" y="1975040"/>
            <a:chExt cx="1201420" cy="287020"/>
          </a:xfrm>
        </p:grpSpPr>
        <p:sp>
          <p:nvSpPr>
            <p:cNvPr id="13" name="object 13"/>
            <p:cNvSpPr/>
            <p:nvPr/>
          </p:nvSpPr>
          <p:spPr>
            <a:xfrm>
              <a:off x="1986534" y="1988057"/>
              <a:ext cx="1175385" cy="260985"/>
            </a:xfrm>
            <a:custGeom>
              <a:avLst/>
              <a:gdLst/>
              <a:ahLst/>
              <a:cxnLst/>
              <a:rect l="l" t="t" r="r" b="b"/>
              <a:pathLst>
                <a:path w="1175385" h="260985">
                  <a:moveTo>
                    <a:pt x="1175004" y="0"/>
                  </a:moveTo>
                  <a:lnTo>
                    <a:pt x="0" y="0"/>
                  </a:lnTo>
                  <a:lnTo>
                    <a:pt x="0" y="260603"/>
                  </a:lnTo>
                  <a:lnTo>
                    <a:pt x="1175004" y="260603"/>
                  </a:lnTo>
                  <a:lnTo>
                    <a:pt x="1175004" y="0"/>
                  </a:lnTo>
                  <a:close/>
                </a:path>
              </a:pathLst>
            </a:custGeom>
            <a:solidFill>
              <a:srgbClr val="E25E6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986534" y="1988057"/>
              <a:ext cx="1175385" cy="260985"/>
            </a:xfrm>
            <a:custGeom>
              <a:avLst/>
              <a:gdLst/>
              <a:ahLst/>
              <a:cxnLst/>
              <a:rect l="l" t="t" r="r" b="b"/>
              <a:pathLst>
                <a:path w="1175385" h="260985">
                  <a:moveTo>
                    <a:pt x="0" y="260603"/>
                  </a:moveTo>
                  <a:lnTo>
                    <a:pt x="1175004" y="260603"/>
                  </a:lnTo>
                  <a:lnTo>
                    <a:pt x="1175004" y="0"/>
                  </a:lnTo>
                  <a:lnTo>
                    <a:pt x="0" y="0"/>
                  </a:lnTo>
                  <a:lnTo>
                    <a:pt x="0" y="260603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3510534" y="1988057"/>
            <a:ext cx="1175385" cy="205184"/>
          </a:xfrm>
          <a:prstGeom prst="rect">
            <a:avLst/>
          </a:prstGeom>
        </p:spPr>
        <p:txBody>
          <a:bodyPr vert="horz" wrap="square" lIns="0" tIns="50800" rIns="0" bIns="0" rtlCol="0">
            <a:spAutoFit/>
          </a:bodyPr>
          <a:lstStyle/>
          <a:p>
            <a:pPr marL="369570">
              <a:spcBef>
                <a:spcPts val="400"/>
              </a:spcBef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Ad-hoc</a:t>
            </a:r>
            <a:endParaRPr sz="10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786122" y="1888998"/>
            <a:ext cx="1176655" cy="255198"/>
          </a:xfrm>
          <a:prstGeom prst="rect">
            <a:avLst/>
          </a:prstGeom>
          <a:solidFill>
            <a:srgbClr val="E8A022"/>
          </a:solidFill>
          <a:ln w="25907">
            <a:solidFill>
              <a:srgbClr val="FFFFFF"/>
            </a:solidFill>
          </a:ln>
        </p:spPr>
        <p:txBody>
          <a:bodyPr vert="horz" wrap="square" lIns="0" tIns="100330" rIns="0" bIns="0" rtlCol="0">
            <a:spAutoFit/>
          </a:bodyPr>
          <a:lstStyle/>
          <a:p>
            <a:pPr algn="ctr">
              <a:spcBef>
                <a:spcPts val="790"/>
              </a:spcBef>
            </a:pP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CI</a:t>
            </a:r>
            <a:endParaRPr sz="10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063235" y="1789938"/>
            <a:ext cx="1175385" cy="382156"/>
          </a:xfrm>
          <a:prstGeom prst="rect">
            <a:avLst/>
          </a:prstGeom>
          <a:solidFill>
            <a:srgbClr val="5FAEAE"/>
          </a:solidFill>
          <a:ln w="25907">
            <a:solidFill>
              <a:srgbClr val="FFFFFF"/>
            </a:solidFill>
          </a:ln>
        </p:spPr>
        <p:txBody>
          <a:bodyPr vert="horz" wrap="square" lIns="0" tIns="73660" rIns="0" bIns="0" rtlCol="0">
            <a:spAutoFit/>
          </a:bodyPr>
          <a:lstStyle/>
          <a:p>
            <a:pPr marL="373380" marR="288290" indent="-78105">
              <a:spcBef>
                <a:spcPts val="580"/>
              </a:spcBef>
            </a:pP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De</a:t>
            </a: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Ops</a:t>
            </a:r>
            <a:r>
              <a:rPr sz="10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–  Level</a:t>
            </a:r>
            <a:r>
              <a:rPr sz="1000" b="1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10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340347" y="1692402"/>
            <a:ext cx="1175385" cy="430887"/>
          </a:xfrm>
          <a:prstGeom prst="rect">
            <a:avLst/>
          </a:prstGeom>
          <a:solidFill>
            <a:srgbClr val="009994"/>
          </a:solidFill>
          <a:ln w="25907">
            <a:solidFill>
              <a:srgbClr val="FFFFFF"/>
            </a:solidFill>
          </a:ln>
        </p:spPr>
        <p:txBody>
          <a:bodyPr vert="horz" wrap="square" lIns="0" tIns="121920" rIns="0" bIns="0" rtlCol="0">
            <a:spAutoFit/>
          </a:bodyPr>
          <a:lstStyle/>
          <a:p>
            <a:pPr marL="373380" marR="288925" indent="-78105">
              <a:spcBef>
                <a:spcPts val="960"/>
              </a:spcBef>
            </a:pP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De</a:t>
            </a: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Ops</a:t>
            </a:r>
            <a:r>
              <a:rPr sz="10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–  Level</a:t>
            </a:r>
            <a:r>
              <a:rPr sz="1000" b="1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10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615934" y="1593341"/>
            <a:ext cx="1176655" cy="487954"/>
          </a:xfrm>
          <a:prstGeom prst="rect">
            <a:avLst/>
          </a:prstGeom>
          <a:solidFill>
            <a:srgbClr val="006F6C"/>
          </a:solidFill>
          <a:ln w="25907">
            <a:solidFill>
              <a:srgbClr val="FFFFFF"/>
            </a:solidFill>
          </a:ln>
        </p:spPr>
        <p:txBody>
          <a:bodyPr vert="horz" wrap="square" lIns="0" tIns="3175" rIns="0" bIns="0" rtlCol="0">
            <a:spAutoFit/>
          </a:bodyPr>
          <a:lstStyle/>
          <a:p>
            <a:pPr>
              <a:spcBef>
                <a:spcPts val="25"/>
              </a:spcBef>
            </a:pPr>
            <a:endParaRPr sz="1150">
              <a:latin typeface="Times New Roman"/>
              <a:cs typeface="Times New Roman"/>
            </a:endParaRPr>
          </a:p>
          <a:p>
            <a:pPr marL="374650" marR="288925" indent="-78105"/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De</a:t>
            </a: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Ops</a:t>
            </a:r>
            <a:r>
              <a:rPr sz="10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–  Level</a:t>
            </a:r>
            <a:r>
              <a:rPr sz="1000" b="1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8602916" y="2320989"/>
            <a:ext cx="1201420" cy="1542415"/>
            <a:chOff x="7078916" y="2320988"/>
            <a:chExt cx="1201420" cy="1542415"/>
          </a:xfrm>
        </p:grpSpPr>
        <p:sp>
          <p:nvSpPr>
            <p:cNvPr id="21" name="object 21"/>
            <p:cNvSpPr/>
            <p:nvPr/>
          </p:nvSpPr>
          <p:spPr>
            <a:xfrm>
              <a:off x="7091934" y="2334006"/>
              <a:ext cx="1175385" cy="1516380"/>
            </a:xfrm>
            <a:custGeom>
              <a:avLst/>
              <a:gdLst/>
              <a:ahLst/>
              <a:cxnLst/>
              <a:rect l="l" t="t" r="r" b="b"/>
              <a:pathLst>
                <a:path w="1175384" h="1516379">
                  <a:moveTo>
                    <a:pt x="1175003" y="0"/>
                  </a:moveTo>
                  <a:lnTo>
                    <a:pt x="0" y="0"/>
                  </a:lnTo>
                  <a:lnTo>
                    <a:pt x="0" y="1516380"/>
                  </a:lnTo>
                  <a:lnTo>
                    <a:pt x="1175003" y="1516380"/>
                  </a:lnTo>
                  <a:lnTo>
                    <a:pt x="1175003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7091934" y="2334006"/>
              <a:ext cx="1175385" cy="1516380"/>
            </a:xfrm>
            <a:custGeom>
              <a:avLst/>
              <a:gdLst/>
              <a:ahLst/>
              <a:cxnLst/>
              <a:rect l="l" t="t" r="r" b="b"/>
              <a:pathLst>
                <a:path w="1175384" h="1516379">
                  <a:moveTo>
                    <a:pt x="0" y="1516380"/>
                  </a:moveTo>
                  <a:lnTo>
                    <a:pt x="1175003" y="1516380"/>
                  </a:lnTo>
                  <a:lnTo>
                    <a:pt x="1175003" y="0"/>
                  </a:lnTo>
                  <a:lnTo>
                    <a:pt x="0" y="0"/>
                  </a:lnTo>
                  <a:lnTo>
                    <a:pt x="0" y="151638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8615934" y="2334006"/>
            <a:ext cx="1175385" cy="8951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8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800" dirty="0">
              <a:latin typeface="Times New Roman"/>
              <a:cs typeface="Times New Roman"/>
            </a:endParaRPr>
          </a:p>
          <a:p>
            <a:pPr marL="243840" marR="208915" indent="-27940">
              <a:spcBef>
                <a:spcPts val="515"/>
              </a:spcBef>
            </a:pPr>
            <a:r>
              <a:rPr sz="700" b="1" spc="-10" dirty="0">
                <a:latin typeface="Arial"/>
                <a:cs typeface="Arial"/>
              </a:rPr>
              <a:t>Measure,</a:t>
            </a:r>
            <a:r>
              <a:rPr sz="700" b="1" spc="10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Rinse</a:t>
            </a:r>
            <a:r>
              <a:rPr sz="700" b="1" dirty="0">
                <a:latin typeface="Arial"/>
                <a:cs typeface="Arial"/>
              </a:rPr>
              <a:t> </a:t>
            </a:r>
            <a:r>
              <a:rPr sz="700" b="1" spc="-5" dirty="0">
                <a:latin typeface="Arial"/>
                <a:cs typeface="Arial"/>
              </a:rPr>
              <a:t>&amp; </a:t>
            </a:r>
            <a:r>
              <a:rPr sz="700" b="1" spc="-180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Repeat,</a:t>
            </a:r>
            <a:r>
              <a:rPr sz="700" b="1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Improve</a:t>
            </a:r>
            <a:endParaRPr sz="700" dirty="0">
              <a:latin typeface="Arial"/>
              <a:cs typeface="Arial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3497517" y="2320989"/>
            <a:ext cx="1198245" cy="352425"/>
            <a:chOff x="1973516" y="2320988"/>
            <a:chExt cx="1198245" cy="352425"/>
          </a:xfrm>
        </p:grpSpPr>
        <p:sp>
          <p:nvSpPr>
            <p:cNvPr id="25" name="object 25"/>
            <p:cNvSpPr/>
            <p:nvPr/>
          </p:nvSpPr>
          <p:spPr>
            <a:xfrm>
              <a:off x="1986534" y="2334006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10" h="326389">
                  <a:moveTo>
                    <a:pt x="1171956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1956" y="326136"/>
                  </a:lnTo>
                  <a:lnTo>
                    <a:pt x="1171956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1986534" y="2334006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10" h="326389">
                  <a:moveTo>
                    <a:pt x="0" y="326136"/>
                  </a:moveTo>
                  <a:lnTo>
                    <a:pt x="1171956" y="326136"/>
                  </a:lnTo>
                  <a:lnTo>
                    <a:pt x="1171956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3510533" y="2430018"/>
            <a:ext cx="117221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Random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4773105" y="2320989"/>
            <a:ext cx="1199515" cy="352425"/>
            <a:chOff x="3249104" y="2320988"/>
            <a:chExt cx="1199515" cy="352425"/>
          </a:xfrm>
        </p:grpSpPr>
        <p:sp>
          <p:nvSpPr>
            <p:cNvPr id="29" name="object 29"/>
            <p:cNvSpPr/>
            <p:nvPr/>
          </p:nvSpPr>
          <p:spPr>
            <a:xfrm>
              <a:off x="3262122" y="2334006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1173479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3479" y="326136"/>
                  </a:lnTo>
                  <a:lnTo>
                    <a:pt x="1173479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3262122" y="2334006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0" y="326136"/>
                  </a:moveTo>
                  <a:lnTo>
                    <a:pt x="1173479" y="326136"/>
                  </a:lnTo>
                  <a:lnTo>
                    <a:pt x="1173479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4786121" y="2376677"/>
            <a:ext cx="1173480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65100" marR="156845" indent="76200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Standards</a:t>
            </a:r>
            <a:r>
              <a:rPr sz="700" b="1" spc="15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exist; </a:t>
            </a:r>
            <a:r>
              <a:rPr sz="700" b="1" spc="-5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Feedbacks</a:t>
            </a:r>
            <a:r>
              <a:rPr sz="700" b="1" spc="-15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actioned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32" name="object 32"/>
          <p:cNvGrpSpPr/>
          <p:nvPr/>
        </p:nvGrpSpPr>
        <p:grpSpPr>
          <a:xfrm>
            <a:off x="6050217" y="2320989"/>
            <a:ext cx="1199515" cy="352425"/>
            <a:chOff x="4526216" y="2320988"/>
            <a:chExt cx="1199515" cy="352425"/>
          </a:xfrm>
        </p:grpSpPr>
        <p:sp>
          <p:nvSpPr>
            <p:cNvPr id="33" name="object 33"/>
            <p:cNvSpPr/>
            <p:nvPr/>
          </p:nvSpPr>
          <p:spPr>
            <a:xfrm>
              <a:off x="4539233" y="2334006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1173480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3480" y="326136"/>
                  </a:lnTo>
                  <a:lnTo>
                    <a:pt x="1173480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4539233" y="2334006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0" y="326136"/>
                  </a:moveTo>
                  <a:lnTo>
                    <a:pt x="1173480" y="326136"/>
                  </a:lnTo>
                  <a:lnTo>
                    <a:pt x="1173480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5" name="object 35"/>
          <p:cNvSpPr txBox="1"/>
          <p:nvPr/>
        </p:nvSpPr>
        <p:spPr>
          <a:xfrm>
            <a:off x="6063234" y="2430018"/>
            <a:ext cx="117348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05410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Organization</a:t>
            </a:r>
            <a:r>
              <a:rPr sz="700" b="1" spc="50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Structure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36" name="object 36"/>
          <p:cNvGrpSpPr/>
          <p:nvPr/>
        </p:nvGrpSpPr>
        <p:grpSpPr>
          <a:xfrm>
            <a:off x="7327329" y="2320989"/>
            <a:ext cx="1198245" cy="352425"/>
            <a:chOff x="5803328" y="2320988"/>
            <a:chExt cx="1198245" cy="352425"/>
          </a:xfrm>
        </p:grpSpPr>
        <p:sp>
          <p:nvSpPr>
            <p:cNvPr id="37" name="object 37"/>
            <p:cNvSpPr/>
            <p:nvPr/>
          </p:nvSpPr>
          <p:spPr>
            <a:xfrm>
              <a:off x="5816345" y="2334006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09" h="326389">
                  <a:moveTo>
                    <a:pt x="1171955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1955" y="326136"/>
                  </a:lnTo>
                  <a:lnTo>
                    <a:pt x="1171955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5816345" y="2334006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09" h="326389">
                  <a:moveTo>
                    <a:pt x="0" y="326136"/>
                  </a:moveTo>
                  <a:lnTo>
                    <a:pt x="1171955" y="326136"/>
                  </a:lnTo>
                  <a:lnTo>
                    <a:pt x="1171955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7340346" y="2430018"/>
            <a:ext cx="117221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1610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Collaboration</a:t>
            </a:r>
            <a:r>
              <a:rPr sz="700" b="1" spc="40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tools</a:t>
            </a:r>
            <a:endParaRPr sz="700" dirty="0">
              <a:latin typeface="Arial"/>
              <a:cs typeface="Arial"/>
            </a:endParaRPr>
          </a:p>
        </p:txBody>
      </p:sp>
      <p:grpSp>
        <p:nvGrpSpPr>
          <p:cNvPr id="40" name="object 40"/>
          <p:cNvGrpSpPr/>
          <p:nvPr/>
        </p:nvGrpSpPr>
        <p:grpSpPr>
          <a:xfrm>
            <a:off x="3497517" y="2717229"/>
            <a:ext cx="1198245" cy="352425"/>
            <a:chOff x="1973516" y="2717228"/>
            <a:chExt cx="1198245" cy="352425"/>
          </a:xfrm>
        </p:grpSpPr>
        <p:sp>
          <p:nvSpPr>
            <p:cNvPr id="41" name="object 41"/>
            <p:cNvSpPr/>
            <p:nvPr/>
          </p:nvSpPr>
          <p:spPr>
            <a:xfrm>
              <a:off x="1986534" y="2730246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10" h="326389">
                  <a:moveTo>
                    <a:pt x="1171956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1956" y="326136"/>
                  </a:lnTo>
                  <a:lnTo>
                    <a:pt x="1171956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1986534" y="2730246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10" h="326389">
                  <a:moveTo>
                    <a:pt x="0" y="326136"/>
                  </a:moveTo>
                  <a:lnTo>
                    <a:pt x="1171956" y="326136"/>
                  </a:lnTo>
                  <a:lnTo>
                    <a:pt x="1171956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3" name="object 43"/>
          <p:cNvSpPr txBox="1"/>
          <p:nvPr/>
        </p:nvSpPr>
        <p:spPr>
          <a:xfrm>
            <a:off x="3510534" y="2825624"/>
            <a:ext cx="1275715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65125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Monolithic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44" name="object 44"/>
          <p:cNvGrpSpPr/>
          <p:nvPr/>
        </p:nvGrpSpPr>
        <p:grpSpPr>
          <a:xfrm>
            <a:off x="4773105" y="2717229"/>
            <a:ext cx="1199515" cy="352425"/>
            <a:chOff x="3249104" y="2717228"/>
            <a:chExt cx="1199515" cy="352425"/>
          </a:xfrm>
        </p:grpSpPr>
        <p:sp>
          <p:nvSpPr>
            <p:cNvPr id="45" name="object 45"/>
            <p:cNvSpPr/>
            <p:nvPr/>
          </p:nvSpPr>
          <p:spPr>
            <a:xfrm>
              <a:off x="3262122" y="2730246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1173479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3479" y="326136"/>
                  </a:lnTo>
                  <a:lnTo>
                    <a:pt x="1173479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3262122" y="2730246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0" y="326136"/>
                  </a:moveTo>
                  <a:lnTo>
                    <a:pt x="1173479" y="326136"/>
                  </a:lnTo>
                  <a:lnTo>
                    <a:pt x="1173479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7" name="object 47"/>
          <p:cNvSpPr txBox="1"/>
          <p:nvPr/>
        </p:nvSpPr>
        <p:spPr>
          <a:xfrm>
            <a:off x="4682489" y="2825624"/>
            <a:ext cx="127762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33705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Modularized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48" name="object 48"/>
          <p:cNvGrpSpPr/>
          <p:nvPr/>
        </p:nvGrpSpPr>
        <p:grpSpPr>
          <a:xfrm>
            <a:off x="6050217" y="2717229"/>
            <a:ext cx="1199515" cy="352425"/>
            <a:chOff x="4526216" y="2717228"/>
            <a:chExt cx="1199515" cy="352425"/>
          </a:xfrm>
        </p:grpSpPr>
        <p:sp>
          <p:nvSpPr>
            <p:cNvPr id="49" name="object 49"/>
            <p:cNvSpPr/>
            <p:nvPr/>
          </p:nvSpPr>
          <p:spPr>
            <a:xfrm>
              <a:off x="4539233" y="2730246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1173480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3480" y="326136"/>
                  </a:lnTo>
                  <a:lnTo>
                    <a:pt x="1173480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4539233" y="2730246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0" y="326136"/>
                  </a:moveTo>
                  <a:lnTo>
                    <a:pt x="1173480" y="326136"/>
                  </a:lnTo>
                  <a:lnTo>
                    <a:pt x="1173480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object 51"/>
          <p:cNvSpPr txBox="1"/>
          <p:nvPr/>
        </p:nvSpPr>
        <p:spPr>
          <a:xfrm>
            <a:off x="5959602" y="2825624"/>
            <a:ext cx="127762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2905">
              <a:spcBef>
                <a:spcPts val="95"/>
              </a:spcBef>
            </a:pPr>
            <a:r>
              <a:rPr sz="700" b="1" spc="-5" dirty="0">
                <a:latin typeface="Arial"/>
                <a:cs typeface="Arial"/>
              </a:rPr>
              <a:t>Micro</a:t>
            </a:r>
            <a:r>
              <a:rPr sz="700" b="1" spc="-15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services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52" name="object 52"/>
          <p:cNvGrpSpPr/>
          <p:nvPr/>
        </p:nvGrpSpPr>
        <p:grpSpPr>
          <a:xfrm>
            <a:off x="7327329" y="2717229"/>
            <a:ext cx="1198245" cy="352425"/>
            <a:chOff x="5803328" y="2717228"/>
            <a:chExt cx="1198245" cy="352425"/>
          </a:xfrm>
        </p:grpSpPr>
        <p:sp>
          <p:nvSpPr>
            <p:cNvPr id="53" name="object 53"/>
            <p:cNvSpPr/>
            <p:nvPr/>
          </p:nvSpPr>
          <p:spPr>
            <a:xfrm>
              <a:off x="5816345" y="2730246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09" h="326389">
                  <a:moveTo>
                    <a:pt x="1171955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1955" y="326136"/>
                  </a:lnTo>
                  <a:lnTo>
                    <a:pt x="1171955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5816345" y="2730246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09" h="326389">
                  <a:moveTo>
                    <a:pt x="0" y="326136"/>
                  </a:moveTo>
                  <a:lnTo>
                    <a:pt x="1171955" y="326136"/>
                  </a:lnTo>
                  <a:lnTo>
                    <a:pt x="1171955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5" name="object 55"/>
          <p:cNvSpPr txBox="1"/>
          <p:nvPr/>
        </p:nvSpPr>
        <p:spPr>
          <a:xfrm>
            <a:off x="7236715" y="2825624"/>
            <a:ext cx="1275715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44805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Containerization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56" name="object 56"/>
          <p:cNvGrpSpPr/>
          <p:nvPr/>
        </p:nvGrpSpPr>
        <p:grpSpPr>
          <a:xfrm>
            <a:off x="3497517" y="3111945"/>
            <a:ext cx="1198245" cy="352425"/>
            <a:chOff x="1973516" y="3111944"/>
            <a:chExt cx="1198245" cy="352425"/>
          </a:xfrm>
        </p:grpSpPr>
        <p:sp>
          <p:nvSpPr>
            <p:cNvPr id="57" name="object 57"/>
            <p:cNvSpPr/>
            <p:nvPr/>
          </p:nvSpPr>
          <p:spPr>
            <a:xfrm>
              <a:off x="1986534" y="3124962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10" h="326389">
                  <a:moveTo>
                    <a:pt x="1171956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1956" y="326136"/>
                  </a:lnTo>
                  <a:lnTo>
                    <a:pt x="1171956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1986534" y="3124962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10" h="326389">
                  <a:moveTo>
                    <a:pt x="0" y="326136"/>
                  </a:moveTo>
                  <a:lnTo>
                    <a:pt x="1171956" y="326136"/>
                  </a:lnTo>
                  <a:lnTo>
                    <a:pt x="1171956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9" name="object 59"/>
          <p:cNvSpPr txBox="1"/>
          <p:nvPr/>
        </p:nvSpPr>
        <p:spPr>
          <a:xfrm>
            <a:off x="3510534" y="3220974"/>
            <a:ext cx="1275715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95885" algn="ctr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Manual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60" name="object 60"/>
          <p:cNvGrpSpPr/>
          <p:nvPr/>
        </p:nvGrpSpPr>
        <p:grpSpPr>
          <a:xfrm>
            <a:off x="4773105" y="3111945"/>
            <a:ext cx="1199515" cy="352425"/>
            <a:chOff x="3249104" y="3111944"/>
            <a:chExt cx="1199515" cy="352425"/>
          </a:xfrm>
        </p:grpSpPr>
        <p:sp>
          <p:nvSpPr>
            <p:cNvPr id="61" name="object 61"/>
            <p:cNvSpPr/>
            <p:nvPr/>
          </p:nvSpPr>
          <p:spPr>
            <a:xfrm>
              <a:off x="3262122" y="3124962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1173479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3479" y="326136"/>
                  </a:lnTo>
                  <a:lnTo>
                    <a:pt x="1173479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3262122" y="3124962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0" y="326136"/>
                  </a:moveTo>
                  <a:lnTo>
                    <a:pt x="1173479" y="326136"/>
                  </a:lnTo>
                  <a:lnTo>
                    <a:pt x="1173479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3" name="object 63"/>
          <p:cNvSpPr txBox="1"/>
          <p:nvPr/>
        </p:nvSpPr>
        <p:spPr>
          <a:xfrm>
            <a:off x="4682489" y="3167633"/>
            <a:ext cx="1277620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03505" algn="ctr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Unit/Integration</a:t>
            </a:r>
            <a:r>
              <a:rPr sz="700" b="1" spc="50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Tests</a:t>
            </a:r>
            <a:endParaRPr sz="700">
              <a:latin typeface="Arial"/>
              <a:cs typeface="Arial"/>
            </a:endParaRPr>
          </a:p>
          <a:p>
            <a:pPr marL="104139" algn="ctr"/>
            <a:r>
              <a:rPr sz="700" b="1" spc="-5" dirty="0">
                <a:latin typeface="Arial"/>
                <a:cs typeface="Arial"/>
              </a:rPr>
              <a:t>Quality</a:t>
            </a:r>
            <a:r>
              <a:rPr sz="700" b="1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tools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64" name="object 64"/>
          <p:cNvGrpSpPr/>
          <p:nvPr/>
        </p:nvGrpSpPr>
        <p:grpSpPr>
          <a:xfrm>
            <a:off x="6050217" y="3111945"/>
            <a:ext cx="1199515" cy="352425"/>
            <a:chOff x="4526216" y="3111944"/>
            <a:chExt cx="1199515" cy="352425"/>
          </a:xfrm>
        </p:grpSpPr>
        <p:sp>
          <p:nvSpPr>
            <p:cNvPr id="65" name="object 65"/>
            <p:cNvSpPr/>
            <p:nvPr/>
          </p:nvSpPr>
          <p:spPr>
            <a:xfrm>
              <a:off x="4539233" y="3124962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1173480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3480" y="326136"/>
                  </a:lnTo>
                  <a:lnTo>
                    <a:pt x="1173480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4539233" y="3124962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0" y="326136"/>
                  </a:moveTo>
                  <a:lnTo>
                    <a:pt x="1173480" y="326136"/>
                  </a:lnTo>
                  <a:lnTo>
                    <a:pt x="1173480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7" name="object 67"/>
          <p:cNvSpPr txBox="1"/>
          <p:nvPr/>
        </p:nvSpPr>
        <p:spPr>
          <a:xfrm>
            <a:off x="5959602" y="3167633"/>
            <a:ext cx="1277620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02235" algn="ctr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Automated</a:t>
            </a:r>
            <a:endParaRPr sz="700">
              <a:latin typeface="Arial"/>
              <a:cs typeface="Arial"/>
            </a:endParaRPr>
          </a:p>
          <a:p>
            <a:pPr marL="103505" algn="ctr"/>
            <a:r>
              <a:rPr sz="700" b="1" spc="-10" dirty="0">
                <a:latin typeface="Arial"/>
                <a:cs typeface="Arial"/>
              </a:rPr>
              <a:t>Acceptance</a:t>
            </a:r>
            <a:r>
              <a:rPr sz="700" b="1" spc="20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Tests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68" name="object 68"/>
          <p:cNvGrpSpPr/>
          <p:nvPr/>
        </p:nvGrpSpPr>
        <p:grpSpPr>
          <a:xfrm>
            <a:off x="7327329" y="3111945"/>
            <a:ext cx="1198245" cy="352425"/>
            <a:chOff x="5803328" y="3111944"/>
            <a:chExt cx="1198245" cy="352425"/>
          </a:xfrm>
        </p:grpSpPr>
        <p:sp>
          <p:nvSpPr>
            <p:cNvPr id="69" name="object 69"/>
            <p:cNvSpPr/>
            <p:nvPr/>
          </p:nvSpPr>
          <p:spPr>
            <a:xfrm>
              <a:off x="5816345" y="3124962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09" h="326389">
                  <a:moveTo>
                    <a:pt x="1171955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1955" y="326136"/>
                  </a:lnTo>
                  <a:lnTo>
                    <a:pt x="1171955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5816345" y="3124962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09" h="326389">
                  <a:moveTo>
                    <a:pt x="0" y="326136"/>
                  </a:moveTo>
                  <a:lnTo>
                    <a:pt x="1171955" y="326136"/>
                  </a:lnTo>
                  <a:lnTo>
                    <a:pt x="1171955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1" name="object 71"/>
          <p:cNvSpPr txBox="1"/>
          <p:nvPr/>
        </p:nvSpPr>
        <p:spPr>
          <a:xfrm>
            <a:off x="7236715" y="3167633"/>
            <a:ext cx="1275715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03505" algn="ctr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Automated</a:t>
            </a:r>
            <a:endParaRPr sz="700">
              <a:latin typeface="Arial"/>
              <a:cs typeface="Arial"/>
            </a:endParaRPr>
          </a:p>
          <a:p>
            <a:pPr marL="104139" algn="ctr"/>
            <a:r>
              <a:rPr sz="700" b="1" spc="-5" dirty="0">
                <a:latin typeface="Arial"/>
                <a:cs typeface="Arial"/>
              </a:rPr>
              <a:t>Performance</a:t>
            </a:r>
            <a:r>
              <a:rPr sz="700" b="1" spc="-15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Tests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72" name="object 72"/>
          <p:cNvGrpSpPr/>
          <p:nvPr/>
        </p:nvGrpSpPr>
        <p:grpSpPr>
          <a:xfrm>
            <a:off x="3497517" y="3508185"/>
            <a:ext cx="1198245" cy="352425"/>
            <a:chOff x="1973516" y="3508184"/>
            <a:chExt cx="1198245" cy="352425"/>
          </a:xfrm>
        </p:grpSpPr>
        <p:sp>
          <p:nvSpPr>
            <p:cNvPr id="73" name="object 73"/>
            <p:cNvSpPr/>
            <p:nvPr/>
          </p:nvSpPr>
          <p:spPr>
            <a:xfrm>
              <a:off x="1986534" y="3521201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10" h="326389">
                  <a:moveTo>
                    <a:pt x="1171956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1956" y="326136"/>
                  </a:lnTo>
                  <a:lnTo>
                    <a:pt x="1171956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1986534" y="3521201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10" h="326389">
                  <a:moveTo>
                    <a:pt x="0" y="326136"/>
                  </a:moveTo>
                  <a:lnTo>
                    <a:pt x="1171956" y="326136"/>
                  </a:lnTo>
                  <a:lnTo>
                    <a:pt x="1171956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5" name="object 75"/>
          <p:cNvSpPr txBox="1"/>
          <p:nvPr/>
        </p:nvSpPr>
        <p:spPr>
          <a:xfrm>
            <a:off x="3510533" y="3616579"/>
            <a:ext cx="117221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Manual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76" name="object 76"/>
          <p:cNvGrpSpPr/>
          <p:nvPr/>
        </p:nvGrpSpPr>
        <p:grpSpPr>
          <a:xfrm>
            <a:off x="4773105" y="3508185"/>
            <a:ext cx="1199515" cy="352425"/>
            <a:chOff x="3249104" y="3508184"/>
            <a:chExt cx="1199515" cy="352425"/>
          </a:xfrm>
        </p:grpSpPr>
        <p:sp>
          <p:nvSpPr>
            <p:cNvPr id="77" name="object 77"/>
            <p:cNvSpPr/>
            <p:nvPr/>
          </p:nvSpPr>
          <p:spPr>
            <a:xfrm>
              <a:off x="3262122" y="3521201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1173479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3479" y="326136"/>
                  </a:lnTo>
                  <a:lnTo>
                    <a:pt x="1173479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3262122" y="3521201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0" y="326136"/>
                  </a:moveTo>
                  <a:lnTo>
                    <a:pt x="1173479" y="326136"/>
                  </a:lnTo>
                  <a:lnTo>
                    <a:pt x="1173479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9" name="object 79"/>
          <p:cNvSpPr txBox="1"/>
          <p:nvPr/>
        </p:nvSpPr>
        <p:spPr>
          <a:xfrm>
            <a:off x="4786121" y="3616579"/>
            <a:ext cx="117348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45745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Bespoke scripts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80" name="object 80"/>
          <p:cNvGrpSpPr/>
          <p:nvPr/>
        </p:nvGrpSpPr>
        <p:grpSpPr>
          <a:xfrm>
            <a:off x="6050217" y="3508185"/>
            <a:ext cx="1199515" cy="352425"/>
            <a:chOff x="4526216" y="3508184"/>
            <a:chExt cx="1199515" cy="352425"/>
          </a:xfrm>
        </p:grpSpPr>
        <p:sp>
          <p:nvSpPr>
            <p:cNvPr id="81" name="object 81"/>
            <p:cNvSpPr/>
            <p:nvPr/>
          </p:nvSpPr>
          <p:spPr>
            <a:xfrm>
              <a:off x="4539233" y="3521201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1173480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3480" y="326136"/>
                  </a:lnTo>
                  <a:lnTo>
                    <a:pt x="1173480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82"/>
            <p:cNvSpPr/>
            <p:nvPr/>
          </p:nvSpPr>
          <p:spPr>
            <a:xfrm>
              <a:off x="4539233" y="3521201"/>
              <a:ext cx="1173480" cy="326390"/>
            </a:xfrm>
            <a:custGeom>
              <a:avLst/>
              <a:gdLst/>
              <a:ahLst/>
              <a:cxnLst/>
              <a:rect l="l" t="t" r="r" b="b"/>
              <a:pathLst>
                <a:path w="1173479" h="326389">
                  <a:moveTo>
                    <a:pt x="0" y="326136"/>
                  </a:moveTo>
                  <a:lnTo>
                    <a:pt x="1173480" y="326136"/>
                  </a:lnTo>
                  <a:lnTo>
                    <a:pt x="1173480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3" name="object 83"/>
          <p:cNvSpPr txBox="1"/>
          <p:nvPr/>
        </p:nvSpPr>
        <p:spPr>
          <a:xfrm>
            <a:off x="6063234" y="3563239"/>
            <a:ext cx="1173480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26060" marR="219710" indent="86360">
              <a:spcBef>
                <a:spcPts val="95"/>
              </a:spcBef>
            </a:pPr>
            <a:r>
              <a:rPr sz="700" b="1" spc="-5" dirty="0">
                <a:latin typeface="Arial"/>
                <a:cs typeface="Arial"/>
              </a:rPr>
              <a:t>Infra</a:t>
            </a:r>
            <a:r>
              <a:rPr sz="700" b="1" spc="10" dirty="0">
                <a:latin typeface="Arial"/>
                <a:cs typeface="Arial"/>
              </a:rPr>
              <a:t> </a:t>
            </a:r>
            <a:r>
              <a:rPr sz="700" b="1" spc="-5" dirty="0">
                <a:latin typeface="Arial"/>
                <a:cs typeface="Arial"/>
              </a:rPr>
              <a:t>as</a:t>
            </a:r>
            <a:r>
              <a:rPr sz="700" b="1" spc="-10" dirty="0">
                <a:latin typeface="Arial"/>
                <a:cs typeface="Arial"/>
              </a:rPr>
              <a:t> code </a:t>
            </a:r>
            <a:r>
              <a:rPr sz="700" b="1" spc="-5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Monitoring</a:t>
            </a:r>
            <a:r>
              <a:rPr sz="700" b="1" dirty="0">
                <a:latin typeface="Arial"/>
                <a:cs typeface="Arial"/>
              </a:rPr>
              <a:t> </a:t>
            </a:r>
            <a:r>
              <a:rPr sz="700" b="1" spc="-10" dirty="0">
                <a:latin typeface="Arial"/>
                <a:cs typeface="Arial"/>
              </a:rPr>
              <a:t>Tools</a:t>
            </a:r>
            <a:endParaRPr sz="700">
              <a:latin typeface="Arial"/>
              <a:cs typeface="Arial"/>
            </a:endParaRPr>
          </a:p>
        </p:txBody>
      </p:sp>
      <p:grpSp>
        <p:nvGrpSpPr>
          <p:cNvPr id="84" name="object 84"/>
          <p:cNvGrpSpPr/>
          <p:nvPr/>
        </p:nvGrpSpPr>
        <p:grpSpPr>
          <a:xfrm>
            <a:off x="7327329" y="3508185"/>
            <a:ext cx="1198245" cy="352425"/>
            <a:chOff x="5803328" y="3508184"/>
            <a:chExt cx="1198245" cy="352425"/>
          </a:xfrm>
        </p:grpSpPr>
        <p:sp>
          <p:nvSpPr>
            <p:cNvPr id="85" name="object 85"/>
            <p:cNvSpPr/>
            <p:nvPr/>
          </p:nvSpPr>
          <p:spPr>
            <a:xfrm>
              <a:off x="5816345" y="3521201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09" h="326389">
                  <a:moveTo>
                    <a:pt x="1171955" y="0"/>
                  </a:moveTo>
                  <a:lnTo>
                    <a:pt x="0" y="0"/>
                  </a:lnTo>
                  <a:lnTo>
                    <a:pt x="0" y="326136"/>
                  </a:lnTo>
                  <a:lnTo>
                    <a:pt x="1171955" y="326136"/>
                  </a:lnTo>
                  <a:lnTo>
                    <a:pt x="1171955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6"/>
            <p:cNvSpPr/>
            <p:nvPr/>
          </p:nvSpPr>
          <p:spPr>
            <a:xfrm>
              <a:off x="5816345" y="3521201"/>
              <a:ext cx="1172210" cy="326390"/>
            </a:xfrm>
            <a:custGeom>
              <a:avLst/>
              <a:gdLst/>
              <a:ahLst/>
              <a:cxnLst/>
              <a:rect l="l" t="t" r="r" b="b"/>
              <a:pathLst>
                <a:path w="1172209" h="326389">
                  <a:moveTo>
                    <a:pt x="0" y="326136"/>
                  </a:moveTo>
                  <a:lnTo>
                    <a:pt x="1171955" y="326136"/>
                  </a:lnTo>
                  <a:lnTo>
                    <a:pt x="1171955" y="0"/>
                  </a:lnTo>
                  <a:lnTo>
                    <a:pt x="0" y="0"/>
                  </a:lnTo>
                  <a:lnTo>
                    <a:pt x="0" y="32613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7" name="object 87"/>
          <p:cNvSpPr txBox="1"/>
          <p:nvPr/>
        </p:nvSpPr>
        <p:spPr>
          <a:xfrm>
            <a:off x="7340346" y="3616579"/>
            <a:ext cx="117221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73380">
              <a:spcBef>
                <a:spcPts val="95"/>
              </a:spcBef>
            </a:pPr>
            <a:r>
              <a:rPr sz="700" b="1" spc="-10" dirty="0">
                <a:latin typeface="Arial"/>
                <a:cs typeface="Arial"/>
              </a:rPr>
              <a:t>Integrated</a:t>
            </a:r>
            <a:endParaRPr sz="700">
              <a:latin typeface="Arial"/>
              <a:cs typeface="Arial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2414017" y="3150107"/>
            <a:ext cx="986155" cy="274320"/>
          </a:xfrm>
          <a:custGeom>
            <a:avLst/>
            <a:gdLst/>
            <a:ahLst/>
            <a:cxnLst/>
            <a:rect l="l" t="t" r="r" b="b"/>
            <a:pathLst>
              <a:path w="986155" h="274320">
                <a:moveTo>
                  <a:pt x="986028" y="0"/>
                </a:moveTo>
                <a:lnTo>
                  <a:pt x="0" y="0"/>
                </a:lnTo>
                <a:lnTo>
                  <a:pt x="0" y="274320"/>
                </a:lnTo>
                <a:lnTo>
                  <a:pt x="986028" y="274320"/>
                </a:lnTo>
                <a:lnTo>
                  <a:pt x="986028" y="0"/>
                </a:lnTo>
                <a:close/>
              </a:path>
            </a:pathLst>
          </a:custGeom>
          <a:solidFill>
            <a:srgbClr val="CAE3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 txBox="1"/>
          <p:nvPr/>
        </p:nvSpPr>
        <p:spPr>
          <a:xfrm>
            <a:off x="2483612" y="3211830"/>
            <a:ext cx="845185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800" b="1" spc="-5" dirty="0">
                <a:solidFill>
                  <a:srgbClr val="001F5F"/>
                </a:solidFill>
                <a:latin typeface="Arial"/>
                <a:cs typeface="Arial"/>
              </a:rPr>
              <a:t>Delivery</a:t>
            </a:r>
            <a:r>
              <a:rPr sz="800" b="1" spc="-20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001F5F"/>
                </a:solidFill>
                <a:latin typeface="Arial"/>
                <a:cs typeface="Arial"/>
              </a:rPr>
              <a:t>Pipeline</a:t>
            </a:r>
            <a:endParaRPr sz="800">
              <a:latin typeface="Arial"/>
              <a:cs typeface="Arial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2414017" y="3546347"/>
            <a:ext cx="986155" cy="274320"/>
          </a:xfrm>
          <a:custGeom>
            <a:avLst/>
            <a:gdLst/>
            <a:ahLst/>
            <a:cxnLst/>
            <a:rect l="l" t="t" r="r" b="b"/>
            <a:pathLst>
              <a:path w="986155" h="274320">
                <a:moveTo>
                  <a:pt x="986028" y="0"/>
                </a:moveTo>
                <a:lnTo>
                  <a:pt x="0" y="0"/>
                </a:lnTo>
                <a:lnTo>
                  <a:pt x="0" y="274319"/>
                </a:lnTo>
                <a:lnTo>
                  <a:pt x="986028" y="274319"/>
                </a:lnTo>
                <a:lnTo>
                  <a:pt x="986028" y="0"/>
                </a:lnTo>
                <a:close/>
              </a:path>
            </a:pathLst>
          </a:custGeom>
          <a:solidFill>
            <a:srgbClr val="CAE3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 txBox="1"/>
          <p:nvPr/>
        </p:nvSpPr>
        <p:spPr>
          <a:xfrm>
            <a:off x="2562860" y="3607435"/>
            <a:ext cx="68707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800" b="1" spc="-5" dirty="0">
                <a:solidFill>
                  <a:srgbClr val="001F5F"/>
                </a:solidFill>
                <a:latin typeface="Arial"/>
                <a:cs typeface="Arial"/>
              </a:rPr>
              <a:t>Infrastructure</a:t>
            </a:r>
            <a:endParaRPr sz="800">
              <a:latin typeface="Arial"/>
              <a:cs typeface="Arial"/>
            </a:endParaRPr>
          </a:p>
        </p:txBody>
      </p:sp>
      <p:grpSp>
        <p:nvGrpSpPr>
          <p:cNvPr id="92" name="object 92"/>
          <p:cNvGrpSpPr/>
          <p:nvPr/>
        </p:nvGrpSpPr>
        <p:grpSpPr>
          <a:xfrm>
            <a:off x="4773168" y="4040124"/>
            <a:ext cx="1199515" cy="1626235"/>
            <a:chOff x="3249167" y="4040123"/>
            <a:chExt cx="1199515" cy="1626235"/>
          </a:xfrm>
        </p:grpSpPr>
        <p:sp>
          <p:nvSpPr>
            <p:cNvPr id="93" name="object 93"/>
            <p:cNvSpPr/>
            <p:nvPr/>
          </p:nvSpPr>
          <p:spPr>
            <a:xfrm>
              <a:off x="3262121" y="4053077"/>
              <a:ext cx="1173480" cy="1600200"/>
            </a:xfrm>
            <a:custGeom>
              <a:avLst/>
              <a:gdLst/>
              <a:ahLst/>
              <a:cxnLst/>
              <a:rect l="l" t="t" r="r" b="b"/>
              <a:pathLst>
                <a:path w="1173479" h="1600200">
                  <a:moveTo>
                    <a:pt x="1173479" y="0"/>
                  </a:moveTo>
                  <a:lnTo>
                    <a:pt x="0" y="0"/>
                  </a:lnTo>
                  <a:lnTo>
                    <a:pt x="0" y="1600200"/>
                  </a:lnTo>
                  <a:lnTo>
                    <a:pt x="1173479" y="1600200"/>
                  </a:lnTo>
                  <a:lnTo>
                    <a:pt x="1173479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3262121" y="4053077"/>
              <a:ext cx="1173480" cy="1600200"/>
            </a:xfrm>
            <a:custGeom>
              <a:avLst/>
              <a:gdLst/>
              <a:ahLst/>
              <a:cxnLst/>
              <a:rect l="l" t="t" r="r" b="b"/>
              <a:pathLst>
                <a:path w="1173479" h="1600200">
                  <a:moveTo>
                    <a:pt x="0" y="1600200"/>
                  </a:moveTo>
                  <a:lnTo>
                    <a:pt x="1173479" y="1600200"/>
                  </a:lnTo>
                  <a:lnTo>
                    <a:pt x="1173479" y="0"/>
                  </a:lnTo>
                  <a:lnTo>
                    <a:pt x="0" y="0"/>
                  </a:lnTo>
                  <a:lnTo>
                    <a:pt x="0" y="16002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5" name="object 95"/>
          <p:cNvSpPr txBox="1"/>
          <p:nvPr/>
        </p:nvSpPr>
        <p:spPr>
          <a:xfrm>
            <a:off x="4786121" y="4053079"/>
            <a:ext cx="1173480" cy="1273041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245745" indent="-172720">
              <a:spcBef>
                <a:spcPts val="540"/>
              </a:spcBef>
              <a:buAutoNum type="arabicPeriod"/>
              <a:tabLst>
                <a:tab pos="246379" algn="l"/>
              </a:tabLst>
            </a:pPr>
            <a:r>
              <a:rPr sz="650" b="1" i="1" spc="-5" dirty="0">
                <a:latin typeface="Arial"/>
                <a:cs typeface="Arial"/>
              </a:rPr>
              <a:t>Build</a:t>
            </a:r>
            <a:r>
              <a:rPr sz="650" b="1" i="1" spc="-3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/commit</a:t>
            </a:r>
            <a:endParaRPr sz="650">
              <a:latin typeface="Arial"/>
              <a:cs typeface="Arial"/>
            </a:endParaRPr>
          </a:p>
          <a:p>
            <a:pPr marL="245745" indent="-172720">
              <a:spcBef>
                <a:spcPts val="75"/>
              </a:spcBef>
              <a:buAutoNum type="arabicPeriod"/>
              <a:tabLst>
                <a:tab pos="246379" algn="l"/>
              </a:tabLst>
            </a:pPr>
            <a:r>
              <a:rPr sz="650" b="1" i="1" spc="-5" dirty="0">
                <a:latin typeface="Arial"/>
                <a:cs typeface="Arial"/>
              </a:rPr>
              <a:t>Developers</a:t>
            </a:r>
            <a:r>
              <a:rPr sz="650" b="1" i="1" spc="-1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respond</a:t>
            </a:r>
            <a:endParaRPr sz="650">
              <a:latin typeface="Arial"/>
              <a:cs typeface="Arial"/>
            </a:endParaRPr>
          </a:p>
          <a:p>
            <a:pPr marL="245745" indent="-172720">
              <a:spcBef>
                <a:spcPts val="80"/>
              </a:spcBef>
              <a:buAutoNum type="arabicPeriod"/>
              <a:tabLst>
                <a:tab pos="246379" algn="l"/>
              </a:tabLst>
            </a:pPr>
            <a:r>
              <a:rPr sz="650" b="1" i="1" spc="-5" dirty="0">
                <a:latin typeface="Arial"/>
                <a:cs typeface="Arial"/>
              </a:rPr>
              <a:t>Around</a:t>
            </a:r>
            <a:r>
              <a:rPr sz="650" b="1" i="1" spc="-2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60%</a:t>
            </a:r>
            <a:endParaRPr sz="650">
              <a:latin typeface="Arial"/>
              <a:cs typeface="Arial"/>
            </a:endParaRPr>
          </a:p>
          <a:p>
            <a:pPr marL="245745">
              <a:spcBef>
                <a:spcPts val="75"/>
              </a:spcBef>
            </a:pPr>
            <a:r>
              <a:rPr sz="650" b="1" i="1" spc="-5" dirty="0">
                <a:latin typeface="Arial"/>
                <a:cs typeface="Arial"/>
              </a:rPr>
              <a:t>Code</a:t>
            </a:r>
            <a:r>
              <a:rPr sz="650" b="1" i="1" spc="-2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coverage</a:t>
            </a:r>
            <a:endParaRPr sz="650">
              <a:latin typeface="Arial"/>
              <a:cs typeface="Arial"/>
            </a:endParaRPr>
          </a:p>
          <a:p>
            <a:pPr marL="245745" indent="-172720">
              <a:spcBef>
                <a:spcPts val="85"/>
              </a:spcBef>
              <a:buAutoNum type="arabicPeriod" startAt="4"/>
              <a:tabLst>
                <a:tab pos="246379" algn="l"/>
              </a:tabLst>
            </a:pPr>
            <a:r>
              <a:rPr sz="650" b="1" i="1" spc="-5" dirty="0">
                <a:latin typeface="Arial"/>
                <a:cs typeface="Arial"/>
              </a:rPr>
              <a:t>Components</a:t>
            </a:r>
            <a:endParaRPr sz="650">
              <a:latin typeface="Arial"/>
              <a:cs typeface="Arial"/>
            </a:endParaRPr>
          </a:p>
          <a:p>
            <a:pPr marL="245745" indent="-172720">
              <a:spcBef>
                <a:spcPts val="70"/>
              </a:spcBef>
              <a:buAutoNum type="arabicPeriod" startAt="4"/>
              <a:tabLst>
                <a:tab pos="246379" algn="l"/>
              </a:tabLst>
            </a:pPr>
            <a:r>
              <a:rPr sz="650" b="1" i="1" spc="-5" dirty="0">
                <a:latin typeface="Arial"/>
                <a:cs typeface="Arial"/>
              </a:rPr>
              <a:t>CI</a:t>
            </a:r>
            <a:r>
              <a:rPr sz="650" b="1" i="1" spc="-3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in</a:t>
            </a:r>
            <a:r>
              <a:rPr sz="650" b="1" i="1" spc="-3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place</a:t>
            </a:r>
            <a:endParaRPr sz="650">
              <a:latin typeface="Arial"/>
              <a:cs typeface="Arial"/>
            </a:endParaRPr>
          </a:p>
          <a:p>
            <a:pPr marL="245745" marR="424180" indent="-172720">
              <a:lnSpc>
                <a:spcPct val="109200"/>
              </a:lnSpc>
              <a:spcBef>
                <a:spcPts val="15"/>
              </a:spcBef>
              <a:buAutoNum type="arabicPeriod" startAt="4"/>
              <a:tabLst>
                <a:tab pos="246379" algn="l"/>
              </a:tabLst>
            </a:pPr>
            <a:r>
              <a:rPr sz="650" b="1" i="1" spc="-5" dirty="0">
                <a:latin typeface="Arial"/>
                <a:cs typeface="Arial"/>
              </a:rPr>
              <a:t>Code</a:t>
            </a:r>
            <a:r>
              <a:rPr sz="650" b="1" i="1" spc="1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quality  </a:t>
            </a:r>
            <a:r>
              <a:rPr sz="650" b="1" i="1" spc="-10" dirty="0">
                <a:latin typeface="Arial"/>
                <a:cs typeface="Arial"/>
              </a:rPr>
              <a:t>Validations</a:t>
            </a:r>
            <a:endParaRPr sz="650">
              <a:latin typeface="Arial"/>
              <a:cs typeface="Arial"/>
            </a:endParaRPr>
          </a:p>
          <a:p>
            <a:pPr marL="245745" marR="206375" indent="-172720">
              <a:lnSpc>
                <a:spcPct val="110000"/>
              </a:lnSpc>
              <a:spcBef>
                <a:spcPts val="5"/>
              </a:spcBef>
              <a:buAutoNum type="arabicPeriod" startAt="4"/>
              <a:tabLst>
                <a:tab pos="246379" algn="l"/>
              </a:tabLst>
            </a:pPr>
            <a:r>
              <a:rPr sz="650" b="1" i="1" spc="-5" dirty="0">
                <a:latin typeface="Arial"/>
                <a:cs typeface="Arial"/>
              </a:rPr>
              <a:t>Release packets/ </a:t>
            </a:r>
            <a:r>
              <a:rPr sz="650" b="1" i="1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promotable</a:t>
            </a:r>
            <a:r>
              <a:rPr sz="650" b="1" i="1" spc="-4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builds </a:t>
            </a:r>
            <a:r>
              <a:rPr sz="650" b="1" i="1" spc="-16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to QA</a:t>
            </a:r>
            <a:endParaRPr sz="650">
              <a:latin typeface="Arial"/>
              <a:cs typeface="Arial"/>
            </a:endParaRPr>
          </a:p>
        </p:txBody>
      </p:sp>
      <p:grpSp>
        <p:nvGrpSpPr>
          <p:cNvPr id="96" name="object 96"/>
          <p:cNvGrpSpPr/>
          <p:nvPr/>
        </p:nvGrpSpPr>
        <p:grpSpPr>
          <a:xfrm>
            <a:off x="6050280" y="4040124"/>
            <a:ext cx="1199515" cy="1626235"/>
            <a:chOff x="4526279" y="4040123"/>
            <a:chExt cx="1199515" cy="1626235"/>
          </a:xfrm>
        </p:grpSpPr>
        <p:sp>
          <p:nvSpPr>
            <p:cNvPr id="97" name="object 97"/>
            <p:cNvSpPr/>
            <p:nvPr/>
          </p:nvSpPr>
          <p:spPr>
            <a:xfrm>
              <a:off x="4539233" y="4053077"/>
              <a:ext cx="1173480" cy="1600200"/>
            </a:xfrm>
            <a:custGeom>
              <a:avLst/>
              <a:gdLst/>
              <a:ahLst/>
              <a:cxnLst/>
              <a:rect l="l" t="t" r="r" b="b"/>
              <a:pathLst>
                <a:path w="1173479" h="1600200">
                  <a:moveTo>
                    <a:pt x="1173480" y="0"/>
                  </a:moveTo>
                  <a:lnTo>
                    <a:pt x="0" y="0"/>
                  </a:lnTo>
                  <a:lnTo>
                    <a:pt x="0" y="1600200"/>
                  </a:lnTo>
                  <a:lnTo>
                    <a:pt x="1173480" y="1600200"/>
                  </a:lnTo>
                  <a:lnTo>
                    <a:pt x="1173480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4539233" y="4053077"/>
              <a:ext cx="1173480" cy="1600200"/>
            </a:xfrm>
            <a:custGeom>
              <a:avLst/>
              <a:gdLst/>
              <a:ahLst/>
              <a:cxnLst/>
              <a:rect l="l" t="t" r="r" b="b"/>
              <a:pathLst>
                <a:path w="1173479" h="1600200">
                  <a:moveTo>
                    <a:pt x="0" y="1600200"/>
                  </a:moveTo>
                  <a:lnTo>
                    <a:pt x="1173480" y="1600200"/>
                  </a:lnTo>
                  <a:lnTo>
                    <a:pt x="1173480" y="0"/>
                  </a:lnTo>
                  <a:lnTo>
                    <a:pt x="0" y="0"/>
                  </a:lnTo>
                  <a:lnTo>
                    <a:pt x="0" y="16002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9" name="object 99"/>
          <p:cNvSpPr txBox="1"/>
          <p:nvPr/>
        </p:nvSpPr>
        <p:spPr>
          <a:xfrm>
            <a:off x="6063234" y="4053078"/>
            <a:ext cx="1173480" cy="1149674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245110" marR="196215" indent="-172720">
              <a:lnSpc>
                <a:spcPct val="109200"/>
              </a:lnSpc>
              <a:spcBef>
                <a:spcPts val="470"/>
              </a:spcBef>
              <a:buAutoNum type="arabicPeriod"/>
              <a:tabLst>
                <a:tab pos="245745" algn="l"/>
              </a:tabLst>
            </a:pPr>
            <a:r>
              <a:rPr sz="650" b="1" i="1" spc="-5" dirty="0">
                <a:latin typeface="Arial"/>
                <a:cs typeface="Arial"/>
              </a:rPr>
              <a:t>DevOps</a:t>
            </a:r>
            <a:r>
              <a:rPr sz="650" b="1" i="1" spc="-3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compliant </a:t>
            </a:r>
            <a:r>
              <a:rPr sz="650" b="1" i="1" spc="-16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organization</a:t>
            </a:r>
            <a:endParaRPr sz="650" dirty="0">
              <a:latin typeface="Arial"/>
              <a:cs typeface="Arial"/>
            </a:endParaRPr>
          </a:p>
          <a:p>
            <a:pPr marL="245110" indent="-172720">
              <a:spcBef>
                <a:spcPts val="85"/>
              </a:spcBef>
              <a:buAutoNum type="arabicPeriod"/>
              <a:tabLst>
                <a:tab pos="245745" algn="l"/>
              </a:tabLst>
            </a:pPr>
            <a:r>
              <a:rPr sz="650" b="1" i="1" spc="-5" dirty="0">
                <a:latin typeface="Arial"/>
                <a:cs typeface="Arial"/>
              </a:rPr>
              <a:t>Consistent</a:t>
            </a:r>
            <a:r>
              <a:rPr sz="650" b="1" i="1" spc="-1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use</a:t>
            </a:r>
            <a:r>
              <a:rPr sz="650" b="1" i="1" spc="-2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of</a:t>
            </a:r>
            <a:endParaRPr sz="650" dirty="0">
              <a:latin typeface="Arial"/>
              <a:cs typeface="Arial"/>
            </a:endParaRPr>
          </a:p>
          <a:p>
            <a:pPr marL="245110">
              <a:spcBef>
                <a:spcPts val="70"/>
              </a:spcBef>
            </a:pPr>
            <a:r>
              <a:rPr sz="650" b="1" i="1" spc="-5" dirty="0">
                <a:latin typeface="Arial"/>
                <a:cs typeface="Arial"/>
              </a:rPr>
              <a:t>standards</a:t>
            </a:r>
            <a:endParaRPr sz="650" dirty="0">
              <a:latin typeface="Arial"/>
              <a:cs typeface="Arial"/>
            </a:endParaRPr>
          </a:p>
          <a:p>
            <a:pPr marL="245110" marR="194310" indent="-172720">
              <a:lnSpc>
                <a:spcPct val="109200"/>
              </a:lnSpc>
              <a:spcBef>
                <a:spcPts val="15"/>
              </a:spcBef>
              <a:buAutoNum type="arabicPeriod" startAt="3"/>
              <a:tabLst>
                <a:tab pos="245745" algn="l"/>
              </a:tabLst>
            </a:pPr>
            <a:r>
              <a:rPr sz="650" b="1" i="1" spc="-5" dirty="0">
                <a:latin typeface="Arial"/>
                <a:cs typeface="Arial"/>
              </a:rPr>
              <a:t>Automated </a:t>
            </a:r>
            <a:r>
              <a:rPr sz="650" b="1" i="1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Acceptances</a:t>
            </a:r>
            <a:r>
              <a:rPr sz="650" b="1" i="1" spc="-2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tests</a:t>
            </a:r>
            <a:endParaRPr sz="650" dirty="0">
              <a:latin typeface="Arial"/>
              <a:cs typeface="Arial"/>
            </a:endParaRPr>
          </a:p>
          <a:p>
            <a:pPr marL="245110" marR="55880" indent="-172720">
              <a:lnSpc>
                <a:spcPct val="109200"/>
              </a:lnSpc>
              <a:spcBef>
                <a:spcPts val="10"/>
              </a:spcBef>
              <a:buAutoNum type="arabicPeriod" startAt="3"/>
              <a:tabLst>
                <a:tab pos="245745" algn="l"/>
              </a:tabLst>
            </a:pPr>
            <a:r>
              <a:rPr sz="650" b="1" i="1" spc="-5" dirty="0">
                <a:latin typeface="Arial"/>
                <a:cs typeface="Arial"/>
              </a:rPr>
              <a:t>Auto-promotable </a:t>
            </a:r>
            <a:r>
              <a:rPr sz="650" b="1" i="1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builds</a:t>
            </a:r>
            <a:r>
              <a:rPr sz="650" b="1" i="1" spc="-2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to</a:t>
            </a:r>
            <a:r>
              <a:rPr sz="650" b="1" i="1" spc="-1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staging/prod</a:t>
            </a:r>
            <a:endParaRPr sz="650" dirty="0">
              <a:latin typeface="Arial"/>
              <a:cs typeface="Arial"/>
            </a:endParaRPr>
          </a:p>
          <a:p>
            <a:pPr marL="245110" marR="76200" indent="-172720">
              <a:lnSpc>
                <a:spcPct val="109200"/>
              </a:lnSpc>
              <a:spcBef>
                <a:spcPts val="15"/>
              </a:spcBef>
              <a:buAutoNum type="arabicPeriod" startAt="3"/>
              <a:tabLst>
                <a:tab pos="245745" algn="l"/>
              </a:tabLst>
            </a:pPr>
            <a:r>
              <a:rPr sz="650" b="1" i="1" spc="-5" dirty="0">
                <a:latin typeface="Arial"/>
                <a:cs typeface="Arial"/>
              </a:rPr>
              <a:t>Monitoring</a:t>
            </a:r>
            <a:r>
              <a:rPr sz="650" b="1" i="1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and </a:t>
            </a:r>
            <a:r>
              <a:rPr sz="650" b="1" i="1" dirty="0">
                <a:latin typeface="Arial"/>
                <a:cs typeface="Arial"/>
              </a:rPr>
              <a:t> </a:t>
            </a:r>
            <a:r>
              <a:rPr sz="650" b="1" i="1" spc="-10" dirty="0">
                <a:latin typeface="Arial"/>
                <a:cs typeface="Arial"/>
              </a:rPr>
              <a:t>alerting</a:t>
            </a:r>
            <a:r>
              <a:rPr sz="650" b="1" i="1" spc="-3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tools</a:t>
            </a:r>
            <a:r>
              <a:rPr sz="650" b="1" i="1" spc="-1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in</a:t>
            </a:r>
            <a:r>
              <a:rPr sz="650" b="1" i="1" spc="-10" dirty="0">
                <a:latin typeface="Arial"/>
                <a:cs typeface="Arial"/>
              </a:rPr>
              <a:t> place</a:t>
            </a:r>
            <a:endParaRPr sz="650" dirty="0">
              <a:latin typeface="Arial"/>
              <a:cs typeface="Arial"/>
            </a:endParaRPr>
          </a:p>
        </p:txBody>
      </p:sp>
      <p:grpSp>
        <p:nvGrpSpPr>
          <p:cNvPr id="100" name="object 100"/>
          <p:cNvGrpSpPr/>
          <p:nvPr/>
        </p:nvGrpSpPr>
        <p:grpSpPr>
          <a:xfrm>
            <a:off x="7327392" y="4040124"/>
            <a:ext cx="1198245" cy="1626235"/>
            <a:chOff x="5803391" y="4040123"/>
            <a:chExt cx="1198245" cy="1626235"/>
          </a:xfrm>
        </p:grpSpPr>
        <p:sp>
          <p:nvSpPr>
            <p:cNvPr id="101" name="object 101"/>
            <p:cNvSpPr/>
            <p:nvPr/>
          </p:nvSpPr>
          <p:spPr>
            <a:xfrm>
              <a:off x="5816345" y="4053077"/>
              <a:ext cx="1172210" cy="1600200"/>
            </a:xfrm>
            <a:custGeom>
              <a:avLst/>
              <a:gdLst/>
              <a:ahLst/>
              <a:cxnLst/>
              <a:rect l="l" t="t" r="r" b="b"/>
              <a:pathLst>
                <a:path w="1172209" h="1600200">
                  <a:moveTo>
                    <a:pt x="1171955" y="0"/>
                  </a:moveTo>
                  <a:lnTo>
                    <a:pt x="0" y="0"/>
                  </a:lnTo>
                  <a:lnTo>
                    <a:pt x="0" y="1600200"/>
                  </a:lnTo>
                  <a:lnTo>
                    <a:pt x="1171955" y="1600200"/>
                  </a:lnTo>
                  <a:lnTo>
                    <a:pt x="1171955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2"/>
            <p:cNvSpPr/>
            <p:nvPr/>
          </p:nvSpPr>
          <p:spPr>
            <a:xfrm>
              <a:off x="5816345" y="4053077"/>
              <a:ext cx="1172210" cy="1600200"/>
            </a:xfrm>
            <a:custGeom>
              <a:avLst/>
              <a:gdLst/>
              <a:ahLst/>
              <a:cxnLst/>
              <a:rect l="l" t="t" r="r" b="b"/>
              <a:pathLst>
                <a:path w="1172209" h="1600200">
                  <a:moveTo>
                    <a:pt x="0" y="1600200"/>
                  </a:moveTo>
                  <a:lnTo>
                    <a:pt x="1171955" y="1600200"/>
                  </a:lnTo>
                  <a:lnTo>
                    <a:pt x="1171955" y="0"/>
                  </a:lnTo>
                  <a:lnTo>
                    <a:pt x="0" y="0"/>
                  </a:lnTo>
                  <a:lnTo>
                    <a:pt x="0" y="16002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3" name="object 103"/>
          <p:cNvSpPr txBox="1"/>
          <p:nvPr/>
        </p:nvSpPr>
        <p:spPr>
          <a:xfrm>
            <a:off x="7340346" y="4053078"/>
            <a:ext cx="1172210" cy="1268424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245110" marR="287655" indent="-172720">
              <a:lnSpc>
                <a:spcPct val="109200"/>
              </a:lnSpc>
              <a:spcBef>
                <a:spcPts val="470"/>
              </a:spcBef>
              <a:buAutoNum type="arabicPeriod"/>
              <a:tabLst>
                <a:tab pos="245745" algn="l"/>
              </a:tabLst>
            </a:pPr>
            <a:r>
              <a:rPr sz="650" b="1" i="1" spc="-10" dirty="0">
                <a:latin typeface="Arial"/>
                <a:cs typeface="Arial"/>
              </a:rPr>
              <a:t>Every commit is </a:t>
            </a:r>
            <a:r>
              <a:rPr sz="650" b="1" i="1" spc="-17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deployable</a:t>
            </a:r>
            <a:endParaRPr sz="650">
              <a:latin typeface="Arial"/>
              <a:cs typeface="Arial"/>
            </a:endParaRPr>
          </a:p>
          <a:p>
            <a:pPr marL="245110" indent="-172720">
              <a:spcBef>
                <a:spcPts val="85"/>
              </a:spcBef>
              <a:buAutoNum type="arabicPeriod"/>
              <a:tabLst>
                <a:tab pos="245745" algn="l"/>
              </a:tabLst>
            </a:pPr>
            <a:r>
              <a:rPr sz="650" b="1" i="1" spc="-5" dirty="0">
                <a:latin typeface="Arial"/>
                <a:cs typeface="Arial"/>
              </a:rPr>
              <a:t>Automated</a:t>
            </a:r>
            <a:endParaRPr sz="650">
              <a:latin typeface="Arial"/>
              <a:cs typeface="Arial"/>
            </a:endParaRPr>
          </a:p>
          <a:p>
            <a:pPr marL="245110">
              <a:spcBef>
                <a:spcPts val="70"/>
              </a:spcBef>
            </a:pPr>
            <a:r>
              <a:rPr sz="650" b="1" i="1" spc="-5" dirty="0">
                <a:latin typeface="Arial"/>
                <a:cs typeface="Arial"/>
              </a:rPr>
              <a:t>performance</a:t>
            </a:r>
            <a:r>
              <a:rPr sz="650" b="1" i="1" spc="-30" dirty="0">
                <a:latin typeface="Arial"/>
                <a:cs typeface="Arial"/>
              </a:rPr>
              <a:t> </a:t>
            </a:r>
            <a:r>
              <a:rPr sz="650" b="1" i="1" spc="-10" dirty="0">
                <a:latin typeface="Arial"/>
                <a:cs typeface="Arial"/>
              </a:rPr>
              <a:t>tests</a:t>
            </a:r>
            <a:endParaRPr sz="650">
              <a:latin typeface="Arial"/>
              <a:cs typeface="Arial"/>
            </a:endParaRPr>
          </a:p>
          <a:p>
            <a:pPr marL="245110" marR="95250" indent="-172720">
              <a:lnSpc>
                <a:spcPct val="110000"/>
              </a:lnSpc>
              <a:spcBef>
                <a:spcPts val="10"/>
              </a:spcBef>
              <a:buAutoNum type="arabicPeriod" startAt="3"/>
              <a:tabLst>
                <a:tab pos="245745" algn="l"/>
              </a:tabLst>
            </a:pPr>
            <a:r>
              <a:rPr sz="650" b="1" i="1" spc="-5" dirty="0">
                <a:latin typeface="Arial"/>
                <a:cs typeface="Arial"/>
              </a:rPr>
              <a:t>Automated </a:t>
            </a:r>
            <a:r>
              <a:rPr sz="650" b="1" i="1" dirty="0">
                <a:latin typeface="Arial"/>
                <a:cs typeface="Arial"/>
              </a:rPr>
              <a:t> </a:t>
            </a:r>
            <a:r>
              <a:rPr sz="650" b="1" i="1" spc="-10" dirty="0">
                <a:latin typeface="Arial"/>
                <a:cs typeface="Arial"/>
              </a:rPr>
              <a:t>environment </a:t>
            </a:r>
            <a:r>
              <a:rPr sz="650" b="1" i="1" spc="-5" dirty="0">
                <a:latin typeface="Arial"/>
                <a:cs typeface="Arial"/>
              </a:rPr>
              <a:t> provisioning</a:t>
            </a:r>
            <a:r>
              <a:rPr sz="650" b="1" i="1" spc="-1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in</a:t>
            </a:r>
            <a:r>
              <a:rPr sz="650" b="1" i="1" spc="-2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place</a:t>
            </a:r>
            <a:endParaRPr sz="650">
              <a:latin typeface="Arial"/>
              <a:cs typeface="Arial"/>
            </a:endParaRPr>
          </a:p>
          <a:p>
            <a:pPr marL="245110" indent="-172720">
              <a:spcBef>
                <a:spcPts val="70"/>
              </a:spcBef>
              <a:buAutoNum type="arabicPeriod" startAt="3"/>
              <a:tabLst>
                <a:tab pos="245745" algn="l"/>
              </a:tabLst>
            </a:pPr>
            <a:r>
              <a:rPr sz="650" b="1" i="1" spc="-5" dirty="0">
                <a:latin typeface="Arial"/>
                <a:cs typeface="Arial"/>
              </a:rPr>
              <a:t>Containerization</a:t>
            </a:r>
            <a:endParaRPr sz="650">
              <a:latin typeface="Arial"/>
              <a:cs typeface="Arial"/>
            </a:endParaRPr>
          </a:p>
          <a:p>
            <a:pPr marL="245110" marR="40005" indent="-172720">
              <a:lnSpc>
                <a:spcPct val="110000"/>
              </a:lnSpc>
              <a:spcBef>
                <a:spcPts val="5"/>
              </a:spcBef>
              <a:buAutoNum type="arabicPeriod" startAt="3"/>
              <a:tabLst>
                <a:tab pos="245745" algn="l"/>
              </a:tabLst>
            </a:pPr>
            <a:r>
              <a:rPr sz="650" b="1" i="1" spc="-5" dirty="0">
                <a:latin typeface="Arial"/>
                <a:cs typeface="Arial"/>
              </a:rPr>
              <a:t>Collaboration tools / </a:t>
            </a:r>
            <a:r>
              <a:rPr sz="650" b="1" i="1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practices</a:t>
            </a:r>
            <a:r>
              <a:rPr sz="650" b="1" i="1" spc="-2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between</a:t>
            </a:r>
            <a:r>
              <a:rPr sz="650" b="1" i="1" spc="-1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dev </a:t>
            </a:r>
            <a:r>
              <a:rPr sz="650" b="1" i="1" spc="-16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and</a:t>
            </a:r>
            <a:r>
              <a:rPr sz="650" b="1" i="1" spc="-10" dirty="0">
                <a:latin typeface="Arial"/>
                <a:cs typeface="Arial"/>
              </a:rPr>
              <a:t> ops</a:t>
            </a:r>
            <a:endParaRPr sz="650">
              <a:latin typeface="Arial"/>
              <a:cs typeface="Arial"/>
            </a:endParaRPr>
          </a:p>
        </p:txBody>
      </p:sp>
      <p:grpSp>
        <p:nvGrpSpPr>
          <p:cNvPr id="104" name="object 104"/>
          <p:cNvGrpSpPr/>
          <p:nvPr/>
        </p:nvGrpSpPr>
        <p:grpSpPr>
          <a:xfrm>
            <a:off x="8602981" y="4040124"/>
            <a:ext cx="1199515" cy="1626235"/>
            <a:chOff x="7078980" y="4040123"/>
            <a:chExt cx="1199515" cy="1626235"/>
          </a:xfrm>
        </p:grpSpPr>
        <p:sp>
          <p:nvSpPr>
            <p:cNvPr id="105" name="object 105"/>
            <p:cNvSpPr/>
            <p:nvPr/>
          </p:nvSpPr>
          <p:spPr>
            <a:xfrm>
              <a:off x="7091934" y="4053077"/>
              <a:ext cx="1173480" cy="1600200"/>
            </a:xfrm>
            <a:custGeom>
              <a:avLst/>
              <a:gdLst/>
              <a:ahLst/>
              <a:cxnLst/>
              <a:rect l="l" t="t" r="r" b="b"/>
              <a:pathLst>
                <a:path w="1173479" h="1600200">
                  <a:moveTo>
                    <a:pt x="1173479" y="0"/>
                  </a:moveTo>
                  <a:lnTo>
                    <a:pt x="0" y="0"/>
                  </a:lnTo>
                  <a:lnTo>
                    <a:pt x="0" y="1600200"/>
                  </a:lnTo>
                  <a:lnTo>
                    <a:pt x="1173479" y="1600200"/>
                  </a:lnTo>
                  <a:lnTo>
                    <a:pt x="1173479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7091934" y="4053077"/>
              <a:ext cx="1173480" cy="1600200"/>
            </a:xfrm>
            <a:custGeom>
              <a:avLst/>
              <a:gdLst/>
              <a:ahLst/>
              <a:cxnLst/>
              <a:rect l="l" t="t" r="r" b="b"/>
              <a:pathLst>
                <a:path w="1173479" h="1600200">
                  <a:moveTo>
                    <a:pt x="0" y="1600200"/>
                  </a:moveTo>
                  <a:lnTo>
                    <a:pt x="1173479" y="1600200"/>
                  </a:lnTo>
                  <a:lnTo>
                    <a:pt x="1173479" y="0"/>
                  </a:lnTo>
                  <a:lnTo>
                    <a:pt x="0" y="0"/>
                  </a:lnTo>
                  <a:lnTo>
                    <a:pt x="0" y="16002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7" name="object 107"/>
          <p:cNvSpPr txBox="1"/>
          <p:nvPr/>
        </p:nvSpPr>
        <p:spPr>
          <a:xfrm>
            <a:off x="8615933" y="4053078"/>
            <a:ext cx="1173480" cy="709810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246379" indent="-172720">
              <a:spcBef>
                <a:spcPts val="540"/>
              </a:spcBef>
              <a:buAutoNum type="arabicPeriod"/>
              <a:tabLst>
                <a:tab pos="247015" algn="l"/>
              </a:tabLst>
            </a:pPr>
            <a:r>
              <a:rPr sz="650" b="1" i="1" spc="-5" dirty="0">
                <a:latin typeface="Arial"/>
                <a:cs typeface="Arial"/>
              </a:rPr>
              <a:t>Evolve</a:t>
            </a:r>
            <a:r>
              <a:rPr sz="650" b="1" i="1" spc="-2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continuously</a:t>
            </a:r>
            <a:endParaRPr sz="650">
              <a:latin typeface="Arial"/>
              <a:cs typeface="Arial"/>
            </a:endParaRPr>
          </a:p>
          <a:p>
            <a:pPr marL="246379" marR="172085" indent="-172720">
              <a:lnSpc>
                <a:spcPts val="860"/>
              </a:lnSpc>
              <a:spcBef>
                <a:spcPts val="35"/>
              </a:spcBef>
              <a:buAutoNum type="arabicPeriod"/>
              <a:tabLst>
                <a:tab pos="247015" algn="l"/>
              </a:tabLst>
            </a:pPr>
            <a:r>
              <a:rPr sz="650" b="1" i="1" spc="-10" dirty="0">
                <a:latin typeface="Arial"/>
                <a:cs typeface="Arial"/>
              </a:rPr>
              <a:t>Stakeholders bring </a:t>
            </a:r>
            <a:r>
              <a:rPr sz="650" b="1" i="1" spc="-16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the</a:t>
            </a:r>
            <a:r>
              <a:rPr sz="650" b="1" i="1" spc="-1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problems</a:t>
            </a:r>
            <a:endParaRPr sz="650">
              <a:latin typeface="Arial"/>
              <a:cs typeface="Arial"/>
            </a:endParaRPr>
          </a:p>
          <a:p>
            <a:pPr marL="246379">
              <a:spcBef>
                <a:spcPts val="35"/>
              </a:spcBef>
            </a:pPr>
            <a:r>
              <a:rPr sz="650" b="1" i="1" spc="-5" dirty="0">
                <a:latin typeface="Arial"/>
                <a:cs typeface="Arial"/>
              </a:rPr>
              <a:t>forward</a:t>
            </a:r>
            <a:endParaRPr sz="650">
              <a:latin typeface="Arial"/>
              <a:cs typeface="Arial"/>
            </a:endParaRPr>
          </a:p>
          <a:p>
            <a:pPr marL="246379" marR="57785" indent="-172720">
              <a:lnSpc>
                <a:spcPct val="109200"/>
              </a:lnSpc>
              <a:spcBef>
                <a:spcPts val="15"/>
              </a:spcBef>
              <a:buAutoNum type="arabicPeriod" startAt="3"/>
              <a:tabLst>
                <a:tab pos="247015" algn="l"/>
              </a:tabLst>
            </a:pPr>
            <a:r>
              <a:rPr sz="650" b="1" i="1" spc="-5" dirty="0">
                <a:latin typeface="Arial"/>
                <a:cs typeface="Arial"/>
              </a:rPr>
              <a:t>Refinements</a:t>
            </a:r>
            <a:r>
              <a:rPr sz="650" b="1" i="1" spc="-20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continue </a:t>
            </a:r>
            <a:r>
              <a:rPr sz="650" b="1" i="1" spc="-16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to happen</a:t>
            </a:r>
            <a:endParaRPr sz="650">
              <a:latin typeface="Arial"/>
              <a:cs typeface="Arial"/>
            </a:endParaRPr>
          </a:p>
        </p:txBody>
      </p:sp>
      <p:grpSp>
        <p:nvGrpSpPr>
          <p:cNvPr id="108" name="object 108"/>
          <p:cNvGrpSpPr/>
          <p:nvPr/>
        </p:nvGrpSpPr>
        <p:grpSpPr>
          <a:xfrm>
            <a:off x="3497580" y="4040124"/>
            <a:ext cx="1198245" cy="1626235"/>
            <a:chOff x="1973579" y="4040123"/>
            <a:chExt cx="1198245" cy="1626235"/>
          </a:xfrm>
        </p:grpSpPr>
        <p:sp>
          <p:nvSpPr>
            <p:cNvPr id="109" name="object 109"/>
            <p:cNvSpPr/>
            <p:nvPr/>
          </p:nvSpPr>
          <p:spPr>
            <a:xfrm>
              <a:off x="1986533" y="4053077"/>
              <a:ext cx="1172210" cy="1600200"/>
            </a:xfrm>
            <a:custGeom>
              <a:avLst/>
              <a:gdLst/>
              <a:ahLst/>
              <a:cxnLst/>
              <a:rect l="l" t="t" r="r" b="b"/>
              <a:pathLst>
                <a:path w="1172210" h="1600200">
                  <a:moveTo>
                    <a:pt x="1171956" y="0"/>
                  </a:moveTo>
                  <a:lnTo>
                    <a:pt x="0" y="0"/>
                  </a:lnTo>
                  <a:lnTo>
                    <a:pt x="0" y="1600200"/>
                  </a:lnTo>
                  <a:lnTo>
                    <a:pt x="1171956" y="1600200"/>
                  </a:lnTo>
                  <a:lnTo>
                    <a:pt x="1171956" y="0"/>
                  </a:lnTo>
                  <a:close/>
                </a:path>
              </a:pathLst>
            </a:custGeom>
            <a:solidFill>
              <a:srgbClr val="C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10"/>
            <p:cNvSpPr/>
            <p:nvPr/>
          </p:nvSpPr>
          <p:spPr>
            <a:xfrm>
              <a:off x="1986533" y="4053077"/>
              <a:ext cx="1172210" cy="1600200"/>
            </a:xfrm>
            <a:custGeom>
              <a:avLst/>
              <a:gdLst/>
              <a:ahLst/>
              <a:cxnLst/>
              <a:rect l="l" t="t" r="r" b="b"/>
              <a:pathLst>
                <a:path w="1172210" h="1600200">
                  <a:moveTo>
                    <a:pt x="0" y="1600200"/>
                  </a:moveTo>
                  <a:lnTo>
                    <a:pt x="1171956" y="1600200"/>
                  </a:lnTo>
                  <a:lnTo>
                    <a:pt x="1171956" y="0"/>
                  </a:lnTo>
                  <a:lnTo>
                    <a:pt x="0" y="0"/>
                  </a:lnTo>
                  <a:lnTo>
                    <a:pt x="0" y="16002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1" name="object 111"/>
          <p:cNvSpPr txBox="1"/>
          <p:nvPr/>
        </p:nvSpPr>
        <p:spPr>
          <a:xfrm>
            <a:off x="3510533" y="4053078"/>
            <a:ext cx="1172210" cy="616836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244475" marR="71755" indent="-172720">
              <a:lnSpc>
                <a:spcPct val="109200"/>
              </a:lnSpc>
              <a:spcBef>
                <a:spcPts val="470"/>
              </a:spcBef>
              <a:buAutoNum type="arabicPeriod"/>
              <a:tabLst>
                <a:tab pos="245110" algn="l"/>
              </a:tabLst>
            </a:pPr>
            <a:r>
              <a:rPr sz="650" b="1" i="1" spc="-5" dirty="0">
                <a:latin typeface="Arial"/>
                <a:cs typeface="Arial"/>
              </a:rPr>
              <a:t>A planned integration </a:t>
            </a:r>
            <a:r>
              <a:rPr sz="650" b="1" i="1" spc="-17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phase</a:t>
            </a:r>
            <a:endParaRPr sz="650">
              <a:latin typeface="Arial"/>
              <a:cs typeface="Arial"/>
            </a:endParaRPr>
          </a:p>
          <a:p>
            <a:pPr marL="244475" indent="-172720">
              <a:spcBef>
                <a:spcPts val="85"/>
              </a:spcBef>
              <a:buAutoNum type="arabicPeriod"/>
              <a:tabLst>
                <a:tab pos="245110" algn="l"/>
              </a:tabLst>
            </a:pPr>
            <a:r>
              <a:rPr sz="650" b="1" i="1" spc="-20" dirty="0">
                <a:latin typeface="Arial"/>
                <a:cs typeface="Arial"/>
              </a:rPr>
              <a:t>M</a:t>
            </a:r>
            <a:r>
              <a:rPr sz="650" b="1" i="1" spc="-5" dirty="0">
                <a:latin typeface="Arial"/>
                <a:cs typeface="Arial"/>
              </a:rPr>
              <a:t>anual</a:t>
            </a:r>
            <a:r>
              <a:rPr sz="650" b="1" i="1" spc="5" dirty="0">
                <a:latin typeface="Arial"/>
                <a:cs typeface="Arial"/>
              </a:rPr>
              <a:t> </a:t>
            </a:r>
            <a:r>
              <a:rPr sz="650" b="1" i="1" spc="-5" dirty="0">
                <a:latin typeface="Arial"/>
                <a:cs typeface="Arial"/>
              </a:rPr>
              <a:t>Tests</a:t>
            </a:r>
            <a:endParaRPr sz="650">
              <a:latin typeface="Arial"/>
              <a:cs typeface="Arial"/>
            </a:endParaRPr>
          </a:p>
          <a:p>
            <a:pPr marL="244475" indent="-172720">
              <a:spcBef>
                <a:spcPts val="70"/>
              </a:spcBef>
              <a:buAutoNum type="arabicPeriod"/>
              <a:tabLst>
                <a:tab pos="245110" algn="l"/>
              </a:tabLst>
            </a:pPr>
            <a:r>
              <a:rPr sz="650" b="1" i="1" spc="-5" dirty="0">
                <a:latin typeface="Arial"/>
                <a:cs typeface="Arial"/>
              </a:rPr>
              <a:t>Full</a:t>
            </a:r>
            <a:r>
              <a:rPr sz="650" b="1" i="1" dirty="0">
                <a:latin typeface="Arial"/>
                <a:cs typeface="Arial"/>
              </a:rPr>
              <a:t>y</a:t>
            </a:r>
            <a:r>
              <a:rPr sz="650" b="1" i="1" spc="-5" dirty="0">
                <a:latin typeface="Arial"/>
                <a:cs typeface="Arial"/>
              </a:rPr>
              <a:t> </a:t>
            </a:r>
            <a:r>
              <a:rPr sz="650" b="1" i="1" spc="-10" dirty="0">
                <a:latin typeface="Arial"/>
                <a:cs typeface="Arial"/>
              </a:rPr>
              <a:t>dressed</a:t>
            </a:r>
            <a:endParaRPr sz="650">
              <a:latin typeface="Arial"/>
              <a:cs typeface="Arial"/>
            </a:endParaRPr>
          </a:p>
          <a:p>
            <a:pPr marL="244475">
              <a:spcBef>
                <a:spcPts val="85"/>
              </a:spcBef>
            </a:pPr>
            <a:r>
              <a:rPr sz="650" b="1" i="1" spc="-5" dirty="0">
                <a:latin typeface="Arial"/>
                <a:cs typeface="Arial"/>
              </a:rPr>
              <a:t>deployments</a:t>
            </a:r>
            <a:endParaRPr sz="650">
              <a:latin typeface="Arial"/>
              <a:cs typeface="Arial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3384804" y="2446020"/>
            <a:ext cx="135890" cy="1289685"/>
          </a:xfrm>
          <a:custGeom>
            <a:avLst/>
            <a:gdLst/>
            <a:ahLst/>
            <a:cxnLst/>
            <a:rect l="l" t="t" r="r" b="b"/>
            <a:pathLst>
              <a:path w="135889" h="1289685">
                <a:moveTo>
                  <a:pt x="135636" y="1237488"/>
                </a:moveTo>
                <a:lnTo>
                  <a:pt x="0" y="1185672"/>
                </a:lnTo>
                <a:lnTo>
                  <a:pt x="0" y="1289304"/>
                </a:lnTo>
                <a:lnTo>
                  <a:pt x="135636" y="1237488"/>
                </a:lnTo>
                <a:close/>
              </a:path>
              <a:path w="135889" h="1289685">
                <a:moveTo>
                  <a:pt x="135636" y="842010"/>
                </a:moveTo>
                <a:lnTo>
                  <a:pt x="0" y="790956"/>
                </a:lnTo>
                <a:lnTo>
                  <a:pt x="0" y="893064"/>
                </a:lnTo>
                <a:lnTo>
                  <a:pt x="135636" y="842010"/>
                </a:lnTo>
                <a:close/>
              </a:path>
              <a:path w="135889" h="1289685">
                <a:moveTo>
                  <a:pt x="135636" y="446532"/>
                </a:moveTo>
                <a:lnTo>
                  <a:pt x="0" y="394716"/>
                </a:lnTo>
                <a:lnTo>
                  <a:pt x="0" y="498348"/>
                </a:lnTo>
                <a:lnTo>
                  <a:pt x="135636" y="446532"/>
                </a:lnTo>
                <a:close/>
              </a:path>
              <a:path w="135889" h="1289685">
                <a:moveTo>
                  <a:pt x="135636" y="51054"/>
                </a:moveTo>
                <a:lnTo>
                  <a:pt x="0" y="0"/>
                </a:lnTo>
                <a:lnTo>
                  <a:pt x="0" y="102108"/>
                </a:lnTo>
                <a:lnTo>
                  <a:pt x="135636" y="51054"/>
                </a:lnTo>
                <a:close/>
              </a:path>
            </a:pathLst>
          </a:custGeom>
          <a:solidFill>
            <a:srgbClr val="CAE3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 txBox="1">
            <a:spLocks noGrp="1"/>
          </p:cNvSpPr>
          <p:nvPr>
            <p:ph type="sldNum" sz="quarter" idx="7"/>
          </p:nvPr>
        </p:nvSpPr>
        <p:spPr>
          <a:xfrm>
            <a:off x="431291" y="6499816"/>
            <a:ext cx="1385570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094D80"/>
                </a:solidFill>
                <a:latin typeface="Arial MT"/>
                <a:ea typeface="+mn-ea"/>
                <a:cs typeface="Arial M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45"/>
              </a:spcBef>
              <a:tabLst>
                <a:tab pos="287020" algn="l"/>
              </a:tabLst>
            </a:pPr>
            <a:r>
              <a:rPr lang="en-US" spc="-5" dirty="0"/>
              <a:t>k</a:t>
            </a:r>
            <a:endParaRPr sz="900" dirty="0">
              <a:latin typeface="Arial"/>
              <a:cs typeface="Arial"/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80387" y="332359"/>
            <a:ext cx="4318000" cy="391160"/>
          </a:xfrm>
          <a:prstGeom prst="rect">
            <a:avLst/>
          </a:prstGeom>
        </p:spPr>
        <p:txBody>
          <a:bodyPr vert="horz" wrap="square" lIns="0" tIns="1270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094D80"/>
                </a:solidFill>
              </a:rPr>
              <a:t>DevOps</a:t>
            </a:r>
            <a:r>
              <a:rPr spc="-100" dirty="0">
                <a:solidFill>
                  <a:srgbClr val="094D80"/>
                </a:solidFill>
              </a:rPr>
              <a:t> </a:t>
            </a:r>
            <a:r>
              <a:rPr spc="-5" dirty="0">
                <a:solidFill>
                  <a:srgbClr val="094D80"/>
                </a:solidFill>
              </a:rPr>
              <a:t>Assessment</a:t>
            </a:r>
            <a:r>
              <a:rPr spc="10" dirty="0">
                <a:solidFill>
                  <a:srgbClr val="094D80"/>
                </a:solidFill>
              </a:rPr>
              <a:t> </a:t>
            </a:r>
            <a:r>
              <a:rPr spc="-5" dirty="0">
                <a:solidFill>
                  <a:srgbClr val="094D80"/>
                </a:solidFill>
              </a:rPr>
              <a:t>Process</a:t>
            </a:r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993391" y="5001767"/>
            <a:ext cx="8199120" cy="346890"/>
          </a:xfrm>
          <a:prstGeom prst="rect">
            <a:avLst/>
          </a:prstGeom>
          <a:solidFill>
            <a:srgbClr val="094D80"/>
          </a:solidFill>
        </p:spPr>
        <p:txBody>
          <a:bodyPr vert="horz" wrap="square" lIns="0" tIns="635" rIns="0" bIns="0" rtlCol="0">
            <a:spAutoFit/>
          </a:bodyPr>
          <a:lstStyle/>
          <a:p>
            <a:pPr>
              <a:spcBef>
                <a:spcPts val="5"/>
              </a:spcBef>
            </a:pPr>
            <a:endParaRPr sz="1050" dirty="0">
              <a:latin typeface="Times New Roman"/>
              <a:cs typeface="Times New Roman"/>
            </a:endParaRPr>
          </a:p>
          <a:p>
            <a:pPr algn="ctr">
              <a:spcBef>
                <a:spcPts val="5"/>
              </a:spcBef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Use</a:t>
            </a:r>
            <a:r>
              <a:rPr sz="12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1200" b="1" spc="-5" dirty="0">
                <a:solidFill>
                  <a:srgbClr val="FFFFFF"/>
                </a:solidFill>
                <a:latin typeface="Arial"/>
                <a:cs typeface="Arial"/>
              </a:rPr>
              <a:t>these four</a:t>
            </a:r>
            <a:r>
              <a:rPr sz="12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Steps Process</a:t>
            </a:r>
            <a:r>
              <a:rPr sz="1200" b="1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wherever</a:t>
            </a:r>
            <a:r>
              <a:rPr sz="12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necessary</a:t>
            </a:r>
            <a:r>
              <a:rPr sz="12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to</a:t>
            </a:r>
            <a:r>
              <a:rPr sz="1200" b="1" spc="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adopt</a:t>
            </a:r>
            <a:r>
              <a:rPr sz="1200" b="1" spc="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DevOps</a:t>
            </a:r>
            <a:r>
              <a:rPr sz="1200" b="1" spc="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case</a:t>
            </a:r>
            <a:r>
              <a:rPr sz="12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to</a:t>
            </a:r>
            <a:r>
              <a:rPr sz="12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case basis</a:t>
            </a:r>
            <a:endParaRPr sz="1200" dirty="0">
              <a:latin typeface="Arial"/>
              <a:cs typeface="Arial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1979676" y="3258312"/>
            <a:ext cx="8223884" cy="695325"/>
            <a:chOff x="455676" y="3258311"/>
            <a:chExt cx="8223884" cy="695325"/>
          </a:xfrm>
        </p:grpSpPr>
        <p:sp>
          <p:nvSpPr>
            <p:cNvPr id="5" name="object 5"/>
            <p:cNvSpPr/>
            <p:nvPr/>
          </p:nvSpPr>
          <p:spPr>
            <a:xfrm>
              <a:off x="2441448" y="3258311"/>
              <a:ext cx="2266315" cy="695325"/>
            </a:xfrm>
            <a:custGeom>
              <a:avLst/>
              <a:gdLst/>
              <a:ahLst/>
              <a:cxnLst/>
              <a:rect l="l" t="t" r="r" b="b"/>
              <a:pathLst>
                <a:path w="2266315" h="695325">
                  <a:moveTo>
                    <a:pt x="1918715" y="0"/>
                  </a:moveTo>
                  <a:lnTo>
                    <a:pt x="0" y="0"/>
                  </a:lnTo>
                  <a:lnTo>
                    <a:pt x="347471" y="347472"/>
                  </a:lnTo>
                  <a:lnTo>
                    <a:pt x="0" y="694944"/>
                  </a:lnTo>
                  <a:lnTo>
                    <a:pt x="1918715" y="694944"/>
                  </a:lnTo>
                  <a:lnTo>
                    <a:pt x="2266188" y="347472"/>
                  </a:lnTo>
                  <a:lnTo>
                    <a:pt x="1918715" y="0"/>
                  </a:lnTo>
                  <a:close/>
                </a:path>
              </a:pathLst>
            </a:custGeom>
            <a:solidFill>
              <a:srgbClr val="7DBBE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55676" y="3258311"/>
              <a:ext cx="2268220" cy="685800"/>
            </a:xfrm>
            <a:custGeom>
              <a:avLst/>
              <a:gdLst/>
              <a:ahLst/>
              <a:cxnLst/>
              <a:rect l="l" t="t" r="r" b="b"/>
              <a:pathLst>
                <a:path w="2268220" h="685800">
                  <a:moveTo>
                    <a:pt x="1924812" y="0"/>
                  </a:moveTo>
                  <a:lnTo>
                    <a:pt x="0" y="0"/>
                  </a:lnTo>
                  <a:lnTo>
                    <a:pt x="0" y="685800"/>
                  </a:lnTo>
                  <a:lnTo>
                    <a:pt x="1924812" y="685800"/>
                  </a:lnTo>
                  <a:lnTo>
                    <a:pt x="2267712" y="342900"/>
                  </a:lnTo>
                  <a:lnTo>
                    <a:pt x="1924812" y="0"/>
                  </a:lnTo>
                  <a:close/>
                </a:path>
              </a:pathLst>
            </a:custGeom>
            <a:solidFill>
              <a:srgbClr val="E25E6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425696" y="3258311"/>
              <a:ext cx="2268220" cy="695325"/>
            </a:xfrm>
            <a:custGeom>
              <a:avLst/>
              <a:gdLst/>
              <a:ahLst/>
              <a:cxnLst/>
              <a:rect l="l" t="t" r="r" b="b"/>
              <a:pathLst>
                <a:path w="2268220" h="695325">
                  <a:moveTo>
                    <a:pt x="1920239" y="0"/>
                  </a:moveTo>
                  <a:lnTo>
                    <a:pt x="0" y="0"/>
                  </a:lnTo>
                  <a:lnTo>
                    <a:pt x="347471" y="347472"/>
                  </a:lnTo>
                  <a:lnTo>
                    <a:pt x="0" y="694944"/>
                  </a:lnTo>
                  <a:lnTo>
                    <a:pt x="1920239" y="694944"/>
                  </a:lnTo>
                  <a:lnTo>
                    <a:pt x="2267711" y="347472"/>
                  </a:lnTo>
                  <a:lnTo>
                    <a:pt x="1920239" y="0"/>
                  </a:lnTo>
                  <a:close/>
                </a:path>
              </a:pathLst>
            </a:custGeom>
            <a:solidFill>
              <a:srgbClr val="9278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411467" y="3258311"/>
              <a:ext cx="2268220" cy="695325"/>
            </a:xfrm>
            <a:custGeom>
              <a:avLst/>
              <a:gdLst/>
              <a:ahLst/>
              <a:cxnLst/>
              <a:rect l="l" t="t" r="r" b="b"/>
              <a:pathLst>
                <a:path w="2268220" h="695325">
                  <a:moveTo>
                    <a:pt x="1920239" y="0"/>
                  </a:moveTo>
                  <a:lnTo>
                    <a:pt x="0" y="0"/>
                  </a:lnTo>
                  <a:lnTo>
                    <a:pt x="347472" y="347472"/>
                  </a:lnTo>
                  <a:lnTo>
                    <a:pt x="0" y="694944"/>
                  </a:lnTo>
                  <a:lnTo>
                    <a:pt x="1920239" y="694944"/>
                  </a:lnTo>
                  <a:lnTo>
                    <a:pt x="2267712" y="347472"/>
                  </a:lnTo>
                  <a:lnTo>
                    <a:pt x="1920239" y="0"/>
                  </a:lnTo>
                  <a:close/>
                </a:path>
              </a:pathLst>
            </a:custGeom>
            <a:solidFill>
              <a:srgbClr val="5FAEA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506730" y="3454145"/>
              <a:ext cx="323215" cy="317500"/>
            </a:xfrm>
            <a:custGeom>
              <a:avLst/>
              <a:gdLst/>
              <a:ahLst/>
              <a:cxnLst/>
              <a:rect l="l" t="t" r="r" b="b"/>
              <a:pathLst>
                <a:path w="323215" h="317500">
                  <a:moveTo>
                    <a:pt x="161544" y="0"/>
                  </a:moveTo>
                  <a:lnTo>
                    <a:pt x="110483" y="8083"/>
                  </a:lnTo>
                  <a:lnTo>
                    <a:pt x="66138" y="30589"/>
                  </a:lnTo>
                  <a:lnTo>
                    <a:pt x="31168" y="64904"/>
                  </a:lnTo>
                  <a:lnTo>
                    <a:pt x="8235" y="108411"/>
                  </a:lnTo>
                  <a:lnTo>
                    <a:pt x="0" y="158495"/>
                  </a:lnTo>
                  <a:lnTo>
                    <a:pt x="8235" y="208580"/>
                  </a:lnTo>
                  <a:lnTo>
                    <a:pt x="31168" y="252087"/>
                  </a:lnTo>
                  <a:lnTo>
                    <a:pt x="66138" y="286402"/>
                  </a:lnTo>
                  <a:lnTo>
                    <a:pt x="110483" y="308908"/>
                  </a:lnTo>
                  <a:lnTo>
                    <a:pt x="161544" y="316991"/>
                  </a:lnTo>
                  <a:lnTo>
                    <a:pt x="212604" y="308908"/>
                  </a:lnTo>
                  <a:lnTo>
                    <a:pt x="256949" y="286402"/>
                  </a:lnTo>
                  <a:lnTo>
                    <a:pt x="291919" y="252087"/>
                  </a:lnTo>
                  <a:lnTo>
                    <a:pt x="314852" y="208580"/>
                  </a:lnTo>
                  <a:lnTo>
                    <a:pt x="323088" y="158495"/>
                  </a:lnTo>
                  <a:lnTo>
                    <a:pt x="314852" y="108411"/>
                  </a:lnTo>
                  <a:lnTo>
                    <a:pt x="291919" y="64904"/>
                  </a:lnTo>
                  <a:lnTo>
                    <a:pt x="256949" y="30589"/>
                  </a:lnTo>
                  <a:lnTo>
                    <a:pt x="212604" y="8083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06730" y="3454145"/>
              <a:ext cx="323215" cy="317500"/>
            </a:xfrm>
            <a:custGeom>
              <a:avLst/>
              <a:gdLst/>
              <a:ahLst/>
              <a:cxnLst/>
              <a:rect l="l" t="t" r="r" b="b"/>
              <a:pathLst>
                <a:path w="323215" h="317500">
                  <a:moveTo>
                    <a:pt x="0" y="158495"/>
                  </a:moveTo>
                  <a:lnTo>
                    <a:pt x="8235" y="108411"/>
                  </a:lnTo>
                  <a:lnTo>
                    <a:pt x="31168" y="64904"/>
                  </a:lnTo>
                  <a:lnTo>
                    <a:pt x="66138" y="30589"/>
                  </a:lnTo>
                  <a:lnTo>
                    <a:pt x="110483" y="8083"/>
                  </a:lnTo>
                  <a:lnTo>
                    <a:pt x="161544" y="0"/>
                  </a:lnTo>
                  <a:lnTo>
                    <a:pt x="212604" y="8083"/>
                  </a:lnTo>
                  <a:lnTo>
                    <a:pt x="256949" y="30589"/>
                  </a:lnTo>
                  <a:lnTo>
                    <a:pt x="291919" y="64904"/>
                  </a:lnTo>
                  <a:lnTo>
                    <a:pt x="314852" y="108411"/>
                  </a:lnTo>
                  <a:lnTo>
                    <a:pt x="323088" y="158495"/>
                  </a:lnTo>
                  <a:lnTo>
                    <a:pt x="314852" y="208580"/>
                  </a:lnTo>
                  <a:lnTo>
                    <a:pt x="291919" y="252087"/>
                  </a:lnTo>
                  <a:lnTo>
                    <a:pt x="256949" y="286402"/>
                  </a:lnTo>
                  <a:lnTo>
                    <a:pt x="212604" y="308908"/>
                  </a:lnTo>
                  <a:lnTo>
                    <a:pt x="161544" y="316991"/>
                  </a:lnTo>
                  <a:lnTo>
                    <a:pt x="110483" y="308908"/>
                  </a:lnTo>
                  <a:lnTo>
                    <a:pt x="66138" y="286402"/>
                  </a:lnTo>
                  <a:lnTo>
                    <a:pt x="31168" y="252087"/>
                  </a:lnTo>
                  <a:lnTo>
                    <a:pt x="8235" y="208580"/>
                  </a:lnTo>
                  <a:lnTo>
                    <a:pt x="0" y="158495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130349" y="3487293"/>
            <a:ext cx="12509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dirty="0">
                <a:solidFill>
                  <a:srgbClr val="DE2713"/>
                </a:solidFill>
                <a:latin typeface="Arial"/>
                <a:cs typeface="Arial"/>
              </a:rPr>
              <a:t>1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4344924" y="3435096"/>
            <a:ext cx="361315" cy="355600"/>
            <a:chOff x="2820923" y="3435096"/>
            <a:chExt cx="361315" cy="355600"/>
          </a:xfrm>
        </p:grpSpPr>
        <p:sp>
          <p:nvSpPr>
            <p:cNvPr id="13" name="object 13"/>
            <p:cNvSpPr/>
            <p:nvPr/>
          </p:nvSpPr>
          <p:spPr>
            <a:xfrm>
              <a:off x="2839973" y="3454146"/>
              <a:ext cx="323215" cy="317500"/>
            </a:xfrm>
            <a:custGeom>
              <a:avLst/>
              <a:gdLst/>
              <a:ahLst/>
              <a:cxnLst/>
              <a:rect l="l" t="t" r="r" b="b"/>
              <a:pathLst>
                <a:path w="323214" h="317500">
                  <a:moveTo>
                    <a:pt x="161544" y="0"/>
                  </a:moveTo>
                  <a:lnTo>
                    <a:pt x="110459" y="8083"/>
                  </a:lnTo>
                  <a:lnTo>
                    <a:pt x="66111" y="30589"/>
                  </a:lnTo>
                  <a:lnTo>
                    <a:pt x="31150" y="64904"/>
                  </a:lnTo>
                  <a:lnTo>
                    <a:pt x="8229" y="108411"/>
                  </a:lnTo>
                  <a:lnTo>
                    <a:pt x="0" y="158495"/>
                  </a:lnTo>
                  <a:lnTo>
                    <a:pt x="8229" y="208580"/>
                  </a:lnTo>
                  <a:lnTo>
                    <a:pt x="31150" y="252087"/>
                  </a:lnTo>
                  <a:lnTo>
                    <a:pt x="66111" y="286402"/>
                  </a:lnTo>
                  <a:lnTo>
                    <a:pt x="110459" y="308908"/>
                  </a:lnTo>
                  <a:lnTo>
                    <a:pt x="161544" y="316991"/>
                  </a:lnTo>
                  <a:lnTo>
                    <a:pt x="212628" y="308908"/>
                  </a:lnTo>
                  <a:lnTo>
                    <a:pt x="256976" y="286402"/>
                  </a:lnTo>
                  <a:lnTo>
                    <a:pt x="291937" y="252087"/>
                  </a:lnTo>
                  <a:lnTo>
                    <a:pt x="314858" y="208580"/>
                  </a:lnTo>
                  <a:lnTo>
                    <a:pt x="323088" y="158495"/>
                  </a:lnTo>
                  <a:lnTo>
                    <a:pt x="314858" y="108411"/>
                  </a:lnTo>
                  <a:lnTo>
                    <a:pt x="291937" y="64904"/>
                  </a:lnTo>
                  <a:lnTo>
                    <a:pt x="256976" y="30589"/>
                  </a:lnTo>
                  <a:lnTo>
                    <a:pt x="212628" y="8083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2839973" y="3454146"/>
              <a:ext cx="323215" cy="317500"/>
            </a:xfrm>
            <a:custGeom>
              <a:avLst/>
              <a:gdLst/>
              <a:ahLst/>
              <a:cxnLst/>
              <a:rect l="l" t="t" r="r" b="b"/>
              <a:pathLst>
                <a:path w="323214" h="317500">
                  <a:moveTo>
                    <a:pt x="0" y="158495"/>
                  </a:moveTo>
                  <a:lnTo>
                    <a:pt x="8229" y="108411"/>
                  </a:lnTo>
                  <a:lnTo>
                    <a:pt x="31150" y="64904"/>
                  </a:lnTo>
                  <a:lnTo>
                    <a:pt x="66111" y="30589"/>
                  </a:lnTo>
                  <a:lnTo>
                    <a:pt x="110459" y="8083"/>
                  </a:lnTo>
                  <a:lnTo>
                    <a:pt x="161544" y="0"/>
                  </a:lnTo>
                  <a:lnTo>
                    <a:pt x="212628" y="8083"/>
                  </a:lnTo>
                  <a:lnTo>
                    <a:pt x="256976" y="30589"/>
                  </a:lnTo>
                  <a:lnTo>
                    <a:pt x="291937" y="64904"/>
                  </a:lnTo>
                  <a:lnTo>
                    <a:pt x="314858" y="108411"/>
                  </a:lnTo>
                  <a:lnTo>
                    <a:pt x="323088" y="158495"/>
                  </a:lnTo>
                  <a:lnTo>
                    <a:pt x="314858" y="208580"/>
                  </a:lnTo>
                  <a:lnTo>
                    <a:pt x="291937" y="252087"/>
                  </a:lnTo>
                  <a:lnTo>
                    <a:pt x="256976" y="286402"/>
                  </a:lnTo>
                  <a:lnTo>
                    <a:pt x="212628" y="308908"/>
                  </a:lnTo>
                  <a:lnTo>
                    <a:pt x="161544" y="316991"/>
                  </a:lnTo>
                  <a:lnTo>
                    <a:pt x="110459" y="308908"/>
                  </a:lnTo>
                  <a:lnTo>
                    <a:pt x="66111" y="286402"/>
                  </a:lnTo>
                  <a:lnTo>
                    <a:pt x="31150" y="252087"/>
                  </a:lnTo>
                  <a:lnTo>
                    <a:pt x="8229" y="208580"/>
                  </a:lnTo>
                  <a:lnTo>
                    <a:pt x="0" y="158495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4463034" y="3487293"/>
            <a:ext cx="12509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dirty="0">
                <a:solidFill>
                  <a:srgbClr val="1399E6"/>
                </a:solidFill>
                <a:latin typeface="Arial"/>
                <a:cs typeface="Arial"/>
              </a:rPr>
              <a:t>2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6324601" y="3435096"/>
            <a:ext cx="361315" cy="355600"/>
            <a:chOff x="4800600" y="3435096"/>
            <a:chExt cx="361315" cy="355600"/>
          </a:xfrm>
        </p:grpSpPr>
        <p:sp>
          <p:nvSpPr>
            <p:cNvPr id="17" name="object 17"/>
            <p:cNvSpPr/>
            <p:nvPr/>
          </p:nvSpPr>
          <p:spPr>
            <a:xfrm>
              <a:off x="4819650" y="3454146"/>
              <a:ext cx="323215" cy="317500"/>
            </a:xfrm>
            <a:custGeom>
              <a:avLst/>
              <a:gdLst/>
              <a:ahLst/>
              <a:cxnLst/>
              <a:rect l="l" t="t" r="r" b="b"/>
              <a:pathLst>
                <a:path w="323214" h="317500">
                  <a:moveTo>
                    <a:pt x="161544" y="0"/>
                  </a:moveTo>
                  <a:lnTo>
                    <a:pt x="110459" y="8083"/>
                  </a:lnTo>
                  <a:lnTo>
                    <a:pt x="66111" y="30589"/>
                  </a:lnTo>
                  <a:lnTo>
                    <a:pt x="31150" y="64904"/>
                  </a:lnTo>
                  <a:lnTo>
                    <a:pt x="8229" y="108411"/>
                  </a:lnTo>
                  <a:lnTo>
                    <a:pt x="0" y="158495"/>
                  </a:lnTo>
                  <a:lnTo>
                    <a:pt x="8229" y="208580"/>
                  </a:lnTo>
                  <a:lnTo>
                    <a:pt x="31150" y="252087"/>
                  </a:lnTo>
                  <a:lnTo>
                    <a:pt x="66111" y="286402"/>
                  </a:lnTo>
                  <a:lnTo>
                    <a:pt x="110459" y="308908"/>
                  </a:lnTo>
                  <a:lnTo>
                    <a:pt x="161544" y="316991"/>
                  </a:lnTo>
                  <a:lnTo>
                    <a:pt x="212628" y="308908"/>
                  </a:lnTo>
                  <a:lnTo>
                    <a:pt x="256976" y="286402"/>
                  </a:lnTo>
                  <a:lnTo>
                    <a:pt x="291937" y="252087"/>
                  </a:lnTo>
                  <a:lnTo>
                    <a:pt x="314858" y="208580"/>
                  </a:lnTo>
                  <a:lnTo>
                    <a:pt x="323088" y="158495"/>
                  </a:lnTo>
                  <a:lnTo>
                    <a:pt x="314858" y="108411"/>
                  </a:lnTo>
                  <a:lnTo>
                    <a:pt x="291937" y="64904"/>
                  </a:lnTo>
                  <a:lnTo>
                    <a:pt x="256976" y="30589"/>
                  </a:lnTo>
                  <a:lnTo>
                    <a:pt x="212628" y="8083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4819650" y="3454146"/>
              <a:ext cx="323215" cy="317500"/>
            </a:xfrm>
            <a:custGeom>
              <a:avLst/>
              <a:gdLst/>
              <a:ahLst/>
              <a:cxnLst/>
              <a:rect l="l" t="t" r="r" b="b"/>
              <a:pathLst>
                <a:path w="323214" h="317500">
                  <a:moveTo>
                    <a:pt x="0" y="158495"/>
                  </a:moveTo>
                  <a:lnTo>
                    <a:pt x="8229" y="108411"/>
                  </a:lnTo>
                  <a:lnTo>
                    <a:pt x="31150" y="64904"/>
                  </a:lnTo>
                  <a:lnTo>
                    <a:pt x="66111" y="30589"/>
                  </a:lnTo>
                  <a:lnTo>
                    <a:pt x="110459" y="8083"/>
                  </a:lnTo>
                  <a:lnTo>
                    <a:pt x="161544" y="0"/>
                  </a:lnTo>
                  <a:lnTo>
                    <a:pt x="212628" y="8083"/>
                  </a:lnTo>
                  <a:lnTo>
                    <a:pt x="256976" y="30589"/>
                  </a:lnTo>
                  <a:lnTo>
                    <a:pt x="291937" y="64904"/>
                  </a:lnTo>
                  <a:lnTo>
                    <a:pt x="314858" y="108411"/>
                  </a:lnTo>
                  <a:lnTo>
                    <a:pt x="323088" y="158495"/>
                  </a:lnTo>
                  <a:lnTo>
                    <a:pt x="314858" y="208580"/>
                  </a:lnTo>
                  <a:lnTo>
                    <a:pt x="291937" y="252087"/>
                  </a:lnTo>
                  <a:lnTo>
                    <a:pt x="256976" y="286402"/>
                  </a:lnTo>
                  <a:lnTo>
                    <a:pt x="212628" y="308908"/>
                  </a:lnTo>
                  <a:lnTo>
                    <a:pt x="161544" y="316991"/>
                  </a:lnTo>
                  <a:lnTo>
                    <a:pt x="110459" y="308908"/>
                  </a:lnTo>
                  <a:lnTo>
                    <a:pt x="66111" y="286402"/>
                  </a:lnTo>
                  <a:lnTo>
                    <a:pt x="31150" y="252087"/>
                  </a:lnTo>
                  <a:lnTo>
                    <a:pt x="8229" y="208580"/>
                  </a:lnTo>
                  <a:lnTo>
                    <a:pt x="0" y="158495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6442965" y="3487293"/>
            <a:ext cx="12509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dirty="0">
                <a:solidFill>
                  <a:srgbClr val="858585"/>
                </a:solidFill>
                <a:latin typeface="Arial"/>
                <a:cs typeface="Arial"/>
              </a:rPr>
              <a:t>3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8314944" y="3435096"/>
            <a:ext cx="361315" cy="355600"/>
            <a:chOff x="6790943" y="3435096"/>
            <a:chExt cx="361315" cy="355600"/>
          </a:xfrm>
        </p:grpSpPr>
        <p:sp>
          <p:nvSpPr>
            <p:cNvPr id="21" name="object 21"/>
            <p:cNvSpPr/>
            <p:nvPr/>
          </p:nvSpPr>
          <p:spPr>
            <a:xfrm>
              <a:off x="6809993" y="3454146"/>
              <a:ext cx="323215" cy="317500"/>
            </a:xfrm>
            <a:custGeom>
              <a:avLst/>
              <a:gdLst/>
              <a:ahLst/>
              <a:cxnLst/>
              <a:rect l="l" t="t" r="r" b="b"/>
              <a:pathLst>
                <a:path w="323215" h="317500">
                  <a:moveTo>
                    <a:pt x="161544" y="0"/>
                  </a:moveTo>
                  <a:lnTo>
                    <a:pt x="110459" y="8083"/>
                  </a:lnTo>
                  <a:lnTo>
                    <a:pt x="66111" y="30589"/>
                  </a:lnTo>
                  <a:lnTo>
                    <a:pt x="31150" y="64904"/>
                  </a:lnTo>
                  <a:lnTo>
                    <a:pt x="8229" y="108411"/>
                  </a:lnTo>
                  <a:lnTo>
                    <a:pt x="0" y="158495"/>
                  </a:lnTo>
                  <a:lnTo>
                    <a:pt x="8229" y="208580"/>
                  </a:lnTo>
                  <a:lnTo>
                    <a:pt x="31150" y="252087"/>
                  </a:lnTo>
                  <a:lnTo>
                    <a:pt x="66111" y="286402"/>
                  </a:lnTo>
                  <a:lnTo>
                    <a:pt x="110459" y="308908"/>
                  </a:lnTo>
                  <a:lnTo>
                    <a:pt x="161544" y="316991"/>
                  </a:lnTo>
                  <a:lnTo>
                    <a:pt x="212628" y="308908"/>
                  </a:lnTo>
                  <a:lnTo>
                    <a:pt x="256976" y="286402"/>
                  </a:lnTo>
                  <a:lnTo>
                    <a:pt x="291937" y="252087"/>
                  </a:lnTo>
                  <a:lnTo>
                    <a:pt x="314858" y="208580"/>
                  </a:lnTo>
                  <a:lnTo>
                    <a:pt x="323087" y="158495"/>
                  </a:lnTo>
                  <a:lnTo>
                    <a:pt x="314858" y="108411"/>
                  </a:lnTo>
                  <a:lnTo>
                    <a:pt x="291937" y="64904"/>
                  </a:lnTo>
                  <a:lnTo>
                    <a:pt x="256976" y="30589"/>
                  </a:lnTo>
                  <a:lnTo>
                    <a:pt x="212628" y="8083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6809993" y="3454146"/>
              <a:ext cx="323215" cy="317500"/>
            </a:xfrm>
            <a:custGeom>
              <a:avLst/>
              <a:gdLst/>
              <a:ahLst/>
              <a:cxnLst/>
              <a:rect l="l" t="t" r="r" b="b"/>
              <a:pathLst>
                <a:path w="323215" h="317500">
                  <a:moveTo>
                    <a:pt x="0" y="158495"/>
                  </a:moveTo>
                  <a:lnTo>
                    <a:pt x="8229" y="108411"/>
                  </a:lnTo>
                  <a:lnTo>
                    <a:pt x="31150" y="64904"/>
                  </a:lnTo>
                  <a:lnTo>
                    <a:pt x="66111" y="30589"/>
                  </a:lnTo>
                  <a:lnTo>
                    <a:pt x="110459" y="8083"/>
                  </a:lnTo>
                  <a:lnTo>
                    <a:pt x="161544" y="0"/>
                  </a:lnTo>
                  <a:lnTo>
                    <a:pt x="212628" y="8083"/>
                  </a:lnTo>
                  <a:lnTo>
                    <a:pt x="256976" y="30589"/>
                  </a:lnTo>
                  <a:lnTo>
                    <a:pt x="291937" y="64904"/>
                  </a:lnTo>
                  <a:lnTo>
                    <a:pt x="314858" y="108411"/>
                  </a:lnTo>
                  <a:lnTo>
                    <a:pt x="323087" y="158495"/>
                  </a:lnTo>
                  <a:lnTo>
                    <a:pt x="314858" y="208580"/>
                  </a:lnTo>
                  <a:lnTo>
                    <a:pt x="291937" y="252087"/>
                  </a:lnTo>
                  <a:lnTo>
                    <a:pt x="256976" y="286402"/>
                  </a:lnTo>
                  <a:lnTo>
                    <a:pt x="212628" y="308908"/>
                  </a:lnTo>
                  <a:lnTo>
                    <a:pt x="161544" y="316991"/>
                  </a:lnTo>
                  <a:lnTo>
                    <a:pt x="110459" y="308908"/>
                  </a:lnTo>
                  <a:lnTo>
                    <a:pt x="66111" y="286402"/>
                  </a:lnTo>
                  <a:lnTo>
                    <a:pt x="31150" y="252087"/>
                  </a:lnTo>
                  <a:lnTo>
                    <a:pt x="8229" y="208580"/>
                  </a:lnTo>
                  <a:lnTo>
                    <a:pt x="0" y="158495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8434197" y="3487293"/>
            <a:ext cx="12509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dirty="0">
                <a:solidFill>
                  <a:srgbClr val="5FAEAE"/>
                </a:solidFill>
                <a:latin typeface="Arial"/>
                <a:cs typeface="Arial"/>
              </a:rPr>
              <a:t>4</a:t>
            </a:r>
            <a:endParaRPr sz="1400">
              <a:latin typeface="Arial"/>
              <a:cs typeface="Arial"/>
            </a:endParaRPr>
          </a:p>
        </p:txBody>
      </p:sp>
      <p:sp>
        <p:nvSpPr>
          <p:cNvPr id="36" name="object 36"/>
          <p:cNvSpPr txBox="1">
            <a:spLocks noGrp="1"/>
          </p:cNvSpPr>
          <p:nvPr>
            <p:ph type="sldNum" sz="quarter" idx="7"/>
          </p:nvPr>
        </p:nvSpPr>
        <p:spPr>
          <a:xfrm>
            <a:off x="431291" y="6499816"/>
            <a:ext cx="1385570" cy="1701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094D80"/>
                </a:solidFill>
                <a:latin typeface="Arial MT"/>
                <a:ea typeface="+mn-ea"/>
                <a:cs typeface="Arial M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45"/>
              </a:spcBef>
              <a:tabLst>
                <a:tab pos="287020" algn="l"/>
              </a:tabLst>
            </a:pPr>
            <a:fld id="{81D60167-4931-47E6-BA6A-407CBD079E47}" type="slidenum">
              <a:rPr lang="en-US" b="1" spc="-5" smtClean="0">
                <a:latin typeface="Arial"/>
                <a:cs typeface="Arial"/>
              </a:rPr>
              <a:pPr marL="38100">
                <a:spcBef>
                  <a:spcPts val="145"/>
                </a:spcBef>
                <a:tabLst>
                  <a:tab pos="287020" algn="l"/>
                </a:tabLst>
              </a:pPr>
              <a:t>3</a:t>
            </a:fld>
            <a:r>
              <a:rPr lang="en-US" b="1" spc="-5">
                <a:latin typeface="Arial"/>
                <a:cs typeface="Arial"/>
              </a:rPr>
              <a:t>	</a:t>
            </a:r>
            <a:r>
              <a:rPr lang="en-US" sz="1350" baseline="9259">
                <a:solidFill>
                  <a:srgbClr val="415363"/>
                </a:solidFill>
              </a:rPr>
              <a:t>|</a:t>
            </a:r>
            <a:r>
              <a:rPr lang="en-US" sz="1350" spc="172" baseline="9259">
                <a:solidFill>
                  <a:srgbClr val="415363"/>
                </a:solidFill>
              </a:rPr>
              <a:t> </a:t>
            </a:r>
            <a:r>
              <a:rPr lang="en-US" spc="-5"/>
              <a:t>DevOps Handbook</a:t>
            </a:r>
            <a:endParaRPr sz="9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607361" y="2826766"/>
            <a:ext cx="1100455" cy="9671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31775">
              <a:spcBef>
                <a:spcPts val="100"/>
              </a:spcBef>
            </a:pPr>
            <a:r>
              <a:rPr sz="2400" dirty="0">
                <a:solidFill>
                  <a:srgbClr val="8299AC"/>
                </a:solidFill>
                <a:latin typeface="Segoe UI Symbol"/>
                <a:cs typeface="Segoe UI Symbol"/>
              </a:rPr>
              <a:t>✔</a:t>
            </a:r>
            <a:endParaRPr sz="2400">
              <a:latin typeface="Segoe UI Symbol"/>
              <a:cs typeface="Segoe UI Symbol"/>
            </a:endParaRPr>
          </a:p>
          <a:p>
            <a:pPr marL="12700">
              <a:spcBef>
                <a:spcPts val="1650"/>
              </a:spcBef>
            </a:pPr>
            <a:r>
              <a:rPr sz="1200" dirty="0">
                <a:solidFill>
                  <a:srgbClr val="FFFFFF"/>
                </a:solidFill>
                <a:latin typeface="Arial MT"/>
                <a:cs typeface="Arial MT"/>
              </a:rPr>
              <a:t>Identify</a:t>
            </a:r>
            <a:endParaRPr sz="1200">
              <a:latin typeface="Arial MT"/>
              <a:cs typeface="Arial MT"/>
            </a:endParaRPr>
          </a:p>
          <a:p>
            <a:pPr marL="12700"/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Key</a:t>
            </a:r>
            <a:r>
              <a:rPr sz="1200" spc="-3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Pain</a:t>
            </a:r>
            <a:r>
              <a:rPr sz="1200" spc="-3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Points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826253" y="2826765"/>
            <a:ext cx="927100" cy="10629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dirty="0">
                <a:solidFill>
                  <a:srgbClr val="8299AC"/>
                </a:solidFill>
                <a:latin typeface="Segoe UI Symbol"/>
                <a:cs typeface="Segoe UI Symbol"/>
              </a:rPr>
              <a:t>✔</a:t>
            </a:r>
            <a:endParaRPr sz="2400">
              <a:latin typeface="Segoe UI Symbol"/>
              <a:cs typeface="Segoe UI Symbol"/>
            </a:endParaRPr>
          </a:p>
          <a:p>
            <a:pPr marL="126364" marR="5080">
              <a:spcBef>
                <a:spcPts val="965"/>
              </a:spcBef>
            </a:pPr>
            <a:r>
              <a:rPr sz="1200" dirty="0">
                <a:solidFill>
                  <a:srgbClr val="FFFFFF"/>
                </a:solidFill>
                <a:latin typeface="Arial MT"/>
                <a:cs typeface="Arial MT"/>
              </a:rPr>
              <a:t>Assess </a:t>
            </a:r>
            <a:r>
              <a:rPr sz="1200" spc="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200" dirty="0">
                <a:solidFill>
                  <a:srgbClr val="FFFFFF"/>
                </a:solidFill>
                <a:latin typeface="Arial MT"/>
                <a:cs typeface="Arial MT"/>
              </a:rPr>
              <a:t>Current </a:t>
            </a:r>
            <a:r>
              <a:rPr sz="1200" spc="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Ca</a:t>
            </a:r>
            <a:r>
              <a:rPr sz="1200" dirty="0">
                <a:solidFill>
                  <a:srgbClr val="FFFFFF"/>
                </a:solidFill>
                <a:latin typeface="Arial MT"/>
                <a:cs typeface="Arial MT"/>
              </a:rPr>
              <a:t>p</a:t>
            </a:r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abi</a:t>
            </a:r>
            <a:r>
              <a:rPr sz="1200" spc="-25" dirty="0">
                <a:solidFill>
                  <a:srgbClr val="FFFFFF"/>
                </a:solidFill>
                <a:latin typeface="Arial MT"/>
                <a:cs typeface="Arial MT"/>
              </a:rPr>
              <a:t>l</a:t>
            </a:r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ities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825488" y="2826765"/>
            <a:ext cx="863600" cy="971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dirty="0">
                <a:solidFill>
                  <a:srgbClr val="8299AC"/>
                </a:solidFill>
                <a:latin typeface="Segoe UI Symbol"/>
                <a:cs typeface="Segoe UI Symbol"/>
              </a:rPr>
              <a:t>✔</a:t>
            </a:r>
            <a:endParaRPr sz="2400">
              <a:latin typeface="Segoe UI Symbol"/>
              <a:cs typeface="Segoe UI Symbol"/>
            </a:endParaRPr>
          </a:p>
          <a:p>
            <a:pPr marL="113030" marR="5080">
              <a:spcBef>
                <a:spcPts val="1685"/>
              </a:spcBef>
            </a:pPr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Produce </a:t>
            </a:r>
            <a:r>
              <a:rPr sz="120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He</a:t>
            </a:r>
            <a:r>
              <a:rPr sz="1200" dirty="0">
                <a:solidFill>
                  <a:srgbClr val="FFFFFF"/>
                </a:solidFill>
                <a:latin typeface="Arial MT"/>
                <a:cs typeface="Arial MT"/>
              </a:rPr>
              <a:t>at</a:t>
            </a:r>
            <a:r>
              <a:rPr sz="1200" spc="-1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Map</a:t>
            </a:r>
            <a:r>
              <a:rPr sz="1200" dirty="0">
                <a:solidFill>
                  <a:srgbClr val="FFFFFF"/>
                </a:solidFill>
                <a:latin typeface="Arial MT"/>
                <a:cs typeface="Arial MT"/>
              </a:rPr>
              <a:t>s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747253" y="2826765"/>
            <a:ext cx="927735" cy="971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dirty="0">
                <a:solidFill>
                  <a:srgbClr val="8299AC"/>
                </a:solidFill>
                <a:latin typeface="Segoe UI Symbol"/>
                <a:cs typeface="Segoe UI Symbol"/>
              </a:rPr>
              <a:t>✔</a:t>
            </a:r>
            <a:endParaRPr sz="2400">
              <a:latin typeface="Segoe UI Symbol"/>
              <a:cs typeface="Segoe UI Symbol"/>
            </a:endParaRPr>
          </a:p>
          <a:p>
            <a:pPr marL="176530" marR="5080">
              <a:spcBef>
                <a:spcPts val="1685"/>
              </a:spcBef>
            </a:pPr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Review </a:t>
            </a:r>
            <a:r>
              <a:rPr sz="120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Heat</a:t>
            </a:r>
            <a:r>
              <a:rPr sz="1200" spc="-7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Arial MT"/>
                <a:cs typeface="Arial MT"/>
              </a:rPr>
              <a:t>Maps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966976" y="4169409"/>
            <a:ext cx="148971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…in</a:t>
            </a:r>
            <a:r>
              <a:rPr sz="1050" spc="-30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spc="-5" dirty="0">
                <a:solidFill>
                  <a:srgbClr val="50586C"/>
                </a:solidFill>
                <a:latin typeface="Arial MT"/>
                <a:cs typeface="Arial MT"/>
              </a:rPr>
              <a:t>the</a:t>
            </a:r>
            <a:r>
              <a:rPr sz="1050" spc="-15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spc="-5" dirty="0">
                <a:solidFill>
                  <a:srgbClr val="50586C"/>
                </a:solidFill>
                <a:latin typeface="Arial MT"/>
                <a:cs typeface="Arial MT"/>
              </a:rPr>
              <a:t>delivery</a:t>
            </a:r>
            <a:r>
              <a:rPr sz="1050" spc="-15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spc="-5" dirty="0">
                <a:solidFill>
                  <a:srgbClr val="50586C"/>
                </a:solidFill>
                <a:latin typeface="Arial MT"/>
                <a:cs typeface="Arial MT"/>
              </a:rPr>
              <a:t>process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952748" y="4169409"/>
            <a:ext cx="1221740" cy="3467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spcBef>
                <a:spcPts val="105"/>
              </a:spcBef>
            </a:pP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…using</a:t>
            </a:r>
            <a:r>
              <a:rPr sz="1050" spc="-40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spc="-5" dirty="0">
                <a:solidFill>
                  <a:srgbClr val="50586C"/>
                </a:solidFill>
                <a:latin typeface="Arial MT"/>
                <a:cs typeface="Arial MT"/>
              </a:rPr>
              <a:t>the</a:t>
            </a:r>
            <a:r>
              <a:rPr sz="1050" spc="-25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spc="-5" dirty="0">
                <a:solidFill>
                  <a:srgbClr val="50586C"/>
                </a:solidFill>
                <a:latin typeface="Arial MT"/>
                <a:cs typeface="Arial MT"/>
              </a:rPr>
              <a:t>DevOps </a:t>
            </a:r>
            <a:r>
              <a:rPr sz="1050" spc="-275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maturity</a:t>
            </a:r>
            <a:r>
              <a:rPr sz="1050" spc="-40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model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938521" y="4169409"/>
            <a:ext cx="1823085" cy="5067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spcBef>
                <a:spcPts val="105"/>
              </a:spcBef>
            </a:pP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…of</a:t>
            </a:r>
            <a:r>
              <a:rPr sz="1050" spc="-35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capability</a:t>
            </a:r>
            <a:r>
              <a:rPr sz="1050" spc="-30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spc="-5" dirty="0">
                <a:solidFill>
                  <a:srgbClr val="50586C"/>
                </a:solidFill>
                <a:latin typeface="Arial MT"/>
                <a:cs typeface="Arial MT"/>
              </a:rPr>
              <a:t>gaps</a:t>
            </a:r>
            <a:r>
              <a:rPr sz="1050" spc="-10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and</a:t>
            </a:r>
            <a:r>
              <a:rPr sz="1050" spc="-30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spc="-5" dirty="0">
                <a:solidFill>
                  <a:srgbClr val="50586C"/>
                </a:solidFill>
                <a:latin typeface="Arial MT"/>
                <a:cs typeface="Arial MT"/>
              </a:rPr>
              <a:t>areas </a:t>
            </a:r>
            <a:r>
              <a:rPr sz="1050" spc="-275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of improvement </a:t>
            </a:r>
            <a:r>
              <a:rPr sz="1050" spc="-5" dirty="0">
                <a:solidFill>
                  <a:srgbClr val="50586C"/>
                </a:solidFill>
                <a:latin typeface="Arial MT"/>
                <a:cs typeface="Arial MT"/>
              </a:rPr>
              <a:t>to </a:t>
            </a: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determine </a:t>
            </a:r>
            <a:r>
              <a:rPr sz="1050" spc="5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priority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924038" y="4169409"/>
            <a:ext cx="1333500" cy="3467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spcBef>
                <a:spcPts val="105"/>
              </a:spcBef>
            </a:pPr>
            <a:r>
              <a:rPr sz="1050" spc="-5" dirty="0">
                <a:solidFill>
                  <a:srgbClr val="50586C"/>
                </a:solidFill>
                <a:latin typeface="Arial MT"/>
                <a:cs typeface="Arial MT"/>
              </a:rPr>
              <a:t>…with</a:t>
            </a:r>
            <a:r>
              <a:rPr sz="1050" spc="-40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milestones</a:t>
            </a:r>
            <a:r>
              <a:rPr sz="1050" spc="-60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and </a:t>
            </a:r>
            <a:r>
              <a:rPr sz="1050" spc="-275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execution</a:t>
            </a:r>
            <a:r>
              <a:rPr sz="1050" spc="-25" dirty="0">
                <a:solidFill>
                  <a:srgbClr val="50586C"/>
                </a:solidFill>
                <a:latin typeface="Arial MT"/>
                <a:cs typeface="Arial MT"/>
              </a:rPr>
              <a:t> </a:t>
            </a:r>
            <a:r>
              <a:rPr sz="1050" dirty="0">
                <a:solidFill>
                  <a:srgbClr val="50586C"/>
                </a:solidFill>
                <a:latin typeface="Arial MT"/>
                <a:cs typeface="Arial MT"/>
              </a:rPr>
              <a:t>timelines</a:t>
            </a:r>
            <a:endParaRPr sz="1050">
              <a:latin typeface="Arial MT"/>
              <a:cs typeface="Arial MT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983435" y="1046734"/>
            <a:ext cx="85344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415363"/>
                </a:solidFill>
                <a:latin typeface="Arial"/>
                <a:cs typeface="Arial"/>
              </a:rPr>
              <a:t>Key</a:t>
            </a:r>
            <a:r>
              <a:rPr sz="1200" b="1" spc="-65" dirty="0">
                <a:solidFill>
                  <a:srgbClr val="415363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415363"/>
                </a:solidFill>
                <a:latin typeface="Arial"/>
                <a:cs typeface="Arial"/>
              </a:rPr>
              <a:t>Inputs:</a:t>
            </a:r>
            <a:endParaRPr sz="12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983436" y="1336024"/>
            <a:ext cx="1653539" cy="986790"/>
          </a:xfrm>
          <a:prstGeom prst="rect">
            <a:avLst/>
          </a:prstGeom>
        </p:spPr>
        <p:txBody>
          <a:bodyPr vert="horz" wrap="square" lIns="0" tIns="89535" rIns="0" bIns="0" rtlCol="0">
            <a:spAutoFit/>
          </a:bodyPr>
          <a:lstStyle/>
          <a:p>
            <a:pPr marL="184785" indent="-172720">
              <a:spcBef>
                <a:spcPts val="705"/>
              </a:spcBef>
              <a:buClr>
                <a:srgbClr val="094D80"/>
              </a:buClr>
              <a:buFont typeface="Wingdings"/>
              <a:buChar char=""/>
              <a:tabLst>
                <a:tab pos="185420" algn="l"/>
              </a:tabLst>
            </a:pP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Solution</a:t>
            </a:r>
            <a:r>
              <a:rPr sz="1200" spc="-100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Architectu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r</a:t>
            </a: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e</a:t>
            </a:r>
            <a:endParaRPr sz="1200">
              <a:latin typeface="Arial MT"/>
              <a:cs typeface="Arial MT"/>
            </a:endParaRPr>
          </a:p>
          <a:p>
            <a:pPr marL="184785" indent="-172720">
              <a:spcBef>
                <a:spcPts val="600"/>
              </a:spcBef>
              <a:buClr>
                <a:srgbClr val="094D80"/>
              </a:buClr>
              <a:buFont typeface="Wingdings"/>
              <a:buChar char=""/>
              <a:tabLst>
                <a:tab pos="185420" algn="l"/>
              </a:tabLst>
            </a:pP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CI p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roce</a:t>
            </a: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ss</a:t>
            </a:r>
            <a:endParaRPr sz="1200">
              <a:latin typeface="Arial MT"/>
              <a:cs typeface="Arial MT"/>
            </a:endParaRPr>
          </a:p>
          <a:p>
            <a:pPr marL="184785" marR="5080" indent="-172720">
              <a:spcBef>
                <a:spcPts val="600"/>
              </a:spcBef>
              <a:buClr>
                <a:srgbClr val="094D80"/>
              </a:buClr>
              <a:buFont typeface="Wingdings"/>
              <a:buChar char=""/>
              <a:tabLst>
                <a:tab pos="185420" algn="l"/>
              </a:tabLst>
            </a:pP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P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h</a:t>
            </a:r>
            <a:r>
              <a:rPr sz="1200" spc="-15" dirty="0">
                <a:solidFill>
                  <a:srgbClr val="415363"/>
                </a:solidFill>
                <a:latin typeface="Arial MT"/>
                <a:cs typeface="Arial MT"/>
              </a:rPr>
              <a:t>y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sical</a:t>
            </a:r>
            <a:r>
              <a:rPr sz="1200" spc="-85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A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rchite</a:t>
            </a: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ct</a:t>
            </a:r>
            <a:r>
              <a:rPr sz="1200" spc="5" dirty="0">
                <a:solidFill>
                  <a:srgbClr val="415363"/>
                </a:solidFill>
                <a:latin typeface="Arial MT"/>
                <a:cs typeface="Arial MT"/>
              </a:rPr>
              <a:t>u</a:t>
            </a: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re/  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Environments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862576" y="1336024"/>
            <a:ext cx="1465580" cy="803910"/>
          </a:xfrm>
          <a:prstGeom prst="rect">
            <a:avLst/>
          </a:prstGeom>
        </p:spPr>
        <p:txBody>
          <a:bodyPr vert="horz" wrap="square" lIns="0" tIns="89535" rIns="0" bIns="0" rtlCol="0">
            <a:spAutoFit/>
          </a:bodyPr>
          <a:lstStyle/>
          <a:p>
            <a:pPr marL="184785" indent="-172720">
              <a:spcBef>
                <a:spcPts val="705"/>
              </a:spcBef>
              <a:buClr>
                <a:srgbClr val="094D80"/>
              </a:buClr>
              <a:buFont typeface="Wingdings"/>
              <a:buChar char=""/>
              <a:tabLst>
                <a:tab pos="185420" algn="l"/>
              </a:tabLst>
            </a:pP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Branching</a:t>
            </a:r>
            <a:r>
              <a:rPr sz="1200" spc="-80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strategy</a:t>
            </a:r>
            <a:endParaRPr sz="1200">
              <a:latin typeface="Arial MT"/>
              <a:cs typeface="Arial MT"/>
            </a:endParaRPr>
          </a:p>
          <a:p>
            <a:pPr marL="184785" indent="-172720">
              <a:spcBef>
                <a:spcPts val="600"/>
              </a:spcBef>
              <a:buClr>
                <a:srgbClr val="094D80"/>
              </a:buClr>
              <a:buFont typeface="Wingdings"/>
              <a:buChar char=""/>
              <a:tabLst>
                <a:tab pos="185420" algn="l"/>
              </a:tabLst>
            </a:pPr>
            <a:r>
              <a:rPr sz="1200" spc="-125" dirty="0">
                <a:solidFill>
                  <a:srgbClr val="415363"/>
                </a:solidFill>
                <a:latin typeface="Arial MT"/>
                <a:cs typeface="Arial MT"/>
              </a:rPr>
              <a:t>T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ea</a:t>
            </a: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m</a:t>
            </a:r>
            <a:r>
              <a:rPr sz="1200" spc="-30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struct</a:t>
            </a:r>
            <a:r>
              <a:rPr sz="1200" spc="5" dirty="0">
                <a:solidFill>
                  <a:srgbClr val="415363"/>
                </a:solidFill>
                <a:latin typeface="Arial MT"/>
                <a:cs typeface="Arial MT"/>
              </a:rPr>
              <a:t>u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re</a:t>
            </a:r>
            <a:endParaRPr sz="1200">
              <a:latin typeface="Arial MT"/>
              <a:cs typeface="Arial MT"/>
            </a:endParaRPr>
          </a:p>
          <a:p>
            <a:pPr marL="184785" indent="-172720">
              <a:spcBef>
                <a:spcPts val="600"/>
              </a:spcBef>
              <a:buClr>
                <a:srgbClr val="094D80"/>
              </a:buClr>
              <a:buFont typeface="Wingdings"/>
              <a:buChar char=""/>
              <a:tabLst>
                <a:tab pos="185420" algn="l"/>
              </a:tabLst>
            </a:pP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Release</a:t>
            </a:r>
            <a:r>
              <a:rPr sz="1200" spc="-40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process</a:t>
            </a:r>
            <a:endParaRPr sz="1200">
              <a:latin typeface="Arial MT"/>
              <a:cs typeface="Arial MT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742046" y="1336024"/>
            <a:ext cx="1980564" cy="803910"/>
          </a:xfrm>
          <a:prstGeom prst="rect">
            <a:avLst/>
          </a:prstGeom>
        </p:spPr>
        <p:txBody>
          <a:bodyPr vert="horz" wrap="square" lIns="0" tIns="89535" rIns="0" bIns="0" rtlCol="0">
            <a:spAutoFit/>
          </a:bodyPr>
          <a:lstStyle/>
          <a:p>
            <a:pPr marL="184785" indent="-172720">
              <a:spcBef>
                <a:spcPts val="705"/>
              </a:spcBef>
              <a:buClr>
                <a:srgbClr val="094D80"/>
              </a:buClr>
              <a:buFont typeface="Wingdings"/>
              <a:buChar char=""/>
              <a:tabLst>
                <a:tab pos="185420" algn="l"/>
              </a:tabLst>
            </a:pP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Roles</a:t>
            </a:r>
            <a:r>
              <a:rPr sz="1200" spc="-45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and</a:t>
            </a:r>
            <a:r>
              <a:rPr sz="1200" spc="-35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Responsibilities</a:t>
            </a:r>
            <a:endParaRPr sz="1200">
              <a:latin typeface="Arial MT"/>
              <a:cs typeface="Arial MT"/>
            </a:endParaRPr>
          </a:p>
          <a:p>
            <a:pPr marL="184785" indent="-172720">
              <a:spcBef>
                <a:spcPts val="600"/>
              </a:spcBef>
              <a:buClr>
                <a:srgbClr val="094D80"/>
              </a:buClr>
              <a:buFont typeface="Wingdings"/>
              <a:buChar char=""/>
              <a:tabLst>
                <a:tab pos="185420" algn="l"/>
              </a:tabLst>
            </a:pPr>
            <a:r>
              <a:rPr sz="1200" spc="-20" dirty="0">
                <a:solidFill>
                  <a:srgbClr val="415363"/>
                </a:solidFill>
                <a:latin typeface="Arial MT"/>
                <a:cs typeface="Arial MT"/>
              </a:rPr>
              <a:t>Testing</a:t>
            </a:r>
            <a:r>
              <a:rPr sz="1200" spc="-55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process</a:t>
            </a:r>
            <a:endParaRPr sz="1200">
              <a:latin typeface="Arial MT"/>
              <a:cs typeface="Arial MT"/>
            </a:endParaRPr>
          </a:p>
          <a:p>
            <a:pPr marL="184785" indent="-172720">
              <a:spcBef>
                <a:spcPts val="600"/>
              </a:spcBef>
              <a:buClr>
                <a:srgbClr val="094D80"/>
              </a:buClr>
              <a:buFont typeface="Wingdings"/>
              <a:buChar char=""/>
              <a:tabLst>
                <a:tab pos="185420" algn="l"/>
              </a:tabLst>
            </a:pP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PM</a:t>
            </a:r>
            <a:r>
              <a:rPr sz="1200" spc="-20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Process</a:t>
            </a:r>
            <a:r>
              <a:rPr sz="1200" spc="-20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1200" spc="-5" dirty="0">
                <a:solidFill>
                  <a:srgbClr val="415363"/>
                </a:solidFill>
                <a:latin typeface="Arial MT"/>
                <a:cs typeface="Arial MT"/>
              </a:rPr>
              <a:t>and</a:t>
            </a:r>
            <a:r>
              <a:rPr sz="1200" spc="-40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1200" dirty="0">
                <a:solidFill>
                  <a:srgbClr val="415363"/>
                </a:solidFill>
                <a:latin typeface="Arial MT"/>
                <a:cs typeface="Arial MT"/>
              </a:rPr>
              <a:t>tools</a:t>
            </a:r>
            <a:endParaRPr sz="1200">
              <a:latin typeface="Arial MT"/>
              <a:cs typeface="Arial MT"/>
            </a:endParaRP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983435" y="2549778"/>
            <a:ext cx="423291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 spc="-5" dirty="0">
                <a:solidFill>
                  <a:srgbClr val="094D80"/>
                </a:solidFill>
                <a:latin typeface="Arial"/>
                <a:cs typeface="Arial"/>
              </a:rPr>
              <a:t>DevOps</a:t>
            </a:r>
            <a:r>
              <a:rPr sz="2400" b="1" spc="-100" dirty="0">
                <a:solidFill>
                  <a:srgbClr val="094D80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94D80"/>
                </a:solidFill>
                <a:latin typeface="Arial"/>
                <a:cs typeface="Arial"/>
              </a:rPr>
              <a:t>Assessment</a:t>
            </a:r>
            <a:r>
              <a:rPr sz="2400" b="1" spc="10" dirty="0">
                <a:solidFill>
                  <a:srgbClr val="094D80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94D80"/>
                </a:solidFill>
                <a:latin typeface="Arial"/>
                <a:cs typeface="Arial"/>
              </a:rPr>
              <a:t>Results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983436" y="3207765"/>
            <a:ext cx="10915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415363"/>
                </a:solidFill>
                <a:latin typeface="Arial MT"/>
                <a:cs typeface="Arial MT"/>
              </a:rPr>
              <a:t>Deep</a:t>
            </a:r>
            <a:r>
              <a:rPr spc="-65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pc="-5" dirty="0">
                <a:solidFill>
                  <a:srgbClr val="415363"/>
                </a:solidFill>
                <a:latin typeface="Arial MT"/>
                <a:cs typeface="Arial MT"/>
              </a:rPr>
              <a:t>Dive</a:t>
            </a:r>
            <a:endParaRPr>
              <a:latin typeface="Arial MT"/>
              <a:cs typeface="Arial M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5533580" y="1059117"/>
            <a:ext cx="3214370" cy="3903345"/>
            <a:chOff x="4009580" y="1059116"/>
            <a:chExt cx="3214370" cy="3903345"/>
          </a:xfrm>
        </p:grpSpPr>
        <p:sp>
          <p:nvSpPr>
            <p:cNvPr id="3" name="object 3"/>
            <p:cNvSpPr/>
            <p:nvPr/>
          </p:nvSpPr>
          <p:spPr>
            <a:xfrm>
              <a:off x="4022597" y="1072133"/>
              <a:ext cx="3188335" cy="3877310"/>
            </a:xfrm>
            <a:custGeom>
              <a:avLst/>
              <a:gdLst/>
              <a:ahLst/>
              <a:cxnLst/>
              <a:rect l="l" t="t" r="r" b="b"/>
              <a:pathLst>
                <a:path w="3188334" h="3877310">
                  <a:moveTo>
                    <a:pt x="3188207" y="0"/>
                  </a:moveTo>
                  <a:lnTo>
                    <a:pt x="0" y="0"/>
                  </a:lnTo>
                  <a:lnTo>
                    <a:pt x="0" y="3877055"/>
                  </a:lnTo>
                  <a:lnTo>
                    <a:pt x="3188207" y="3877055"/>
                  </a:lnTo>
                  <a:lnTo>
                    <a:pt x="3188207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4022597" y="1072133"/>
              <a:ext cx="3188335" cy="3877310"/>
            </a:xfrm>
            <a:custGeom>
              <a:avLst/>
              <a:gdLst/>
              <a:ahLst/>
              <a:cxnLst/>
              <a:rect l="l" t="t" r="r" b="b"/>
              <a:pathLst>
                <a:path w="3188334" h="3877310">
                  <a:moveTo>
                    <a:pt x="0" y="3877055"/>
                  </a:moveTo>
                  <a:lnTo>
                    <a:pt x="3188207" y="3877055"/>
                  </a:lnTo>
                  <a:lnTo>
                    <a:pt x="3188207" y="0"/>
                  </a:lnTo>
                  <a:lnTo>
                    <a:pt x="0" y="0"/>
                  </a:lnTo>
                  <a:lnTo>
                    <a:pt x="0" y="3877055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5546598" y="1072133"/>
            <a:ext cx="3188335" cy="397510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42544" rIns="0" bIns="0" rtlCol="0">
            <a:spAutoFit/>
          </a:bodyPr>
          <a:lstStyle/>
          <a:p>
            <a:pPr marL="5715" algn="ctr">
              <a:spcBef>
                <a:spcPts val="334"/>
              </a:spcBef>
            </a:pP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uDeploy</a:t>
            </a:r>
            <a:endParaRPr sz="800" dirty="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750" dirty="0">
                <a:solidFill>
                  <a:srgbClr val="415363"/>
                </a:solidFill>
                <a:latin typeface="Arial MT"/>
                <a:cs typeface="Arial MT"/>
              </a:rPr>
              <a:t>(Combined</a:t>
            </a:r>
            <a:r>
              <a:rPr sz="750" spc="-55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750" dirty="0">
                <a:solidFill>
                  <a:srgbClr val="415363"/>
                </a:solidFill>
                <a:latin typeface="Arial MT"/>
                <a:cs typeface="Arial MT"/>
              </a:rPr>
              <a:t>–</a:t>
            </a:r>
            <a:r>
              <a:rPr sz="750" spc="-15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750" dirty="0">
                <a:solidFill>
                  <a:srgbClr val="415363"/>
                </a:solidFill>
                <a:latin typeface="Arial MT"/>
                <a:cs typeface="Arial MT"/>
              </a:rPr>
              <a:t>Snapshot</a:t>
            </a:r>
            <a:r>
              <a:rPr sz="750" spc="-40" dirty="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750">
                <a:solidFill>
                  <a:srgbClr val="415363"/>
                </a:solidFill>
                <a:latin typeface="Arial MT"/>
                <a:cs typeface="Arial MT"/>
              </a:rPr>
              <a:t>at</a:t>
            </a:r>
            <a:r>
              <a:rPr sz="750" spc="-10">
                <a:solidFill>
                  <a:srgbClr val="415363"/>
                </a:solidFill>
                <a:latin typeface="Arial MT"/>
                <a:cs typeface="Arial MT"/>
              </a:rPr>
              <a:t> </a:t>
            </a:r>
            <a:r>
              <a:rPr sz="750">
                <a:solidFill>
                  <a:srgbClr val="415363"/>
                </a:solidFill>
                <a:latin typeface="Arial MT"/>
                <a:cs typeface="Arial MT"/>
              </a:rPr>
              <a:t>level</a:t>
            </a:r>
            <a:r>
              <a:rPr sz="750" dirty="0">
                <a:solidFill>
                  <a:srgbClr val="415363"/>
                </a:solidFill>
                <a:latin typeface="Arial MT"/>
                <a:cs typeface="Arial MT"/>
              </a:rPr>
              <a:t>)</a:t>
            </a:r>
            <a:endParaRPr sz="750" dirty="0">
              <a:latin typeface="Arial MT"/>
              <a:cs typeface="Arial MT"/>
            </a:endParaRPr>
          </a:p>
          <a:p>
            <a:pPr marL="1905" algn="ctr"/>
            <a:r>
              <a:rPr sz="750" dirty="0">
                <a:solidFill>
                  <a:srgbClr val="415363"/>
                </a:solidFill>
                <a:latin typeface="Arial MT"/>
                <a:cs typeface="Arial MT"/>
              </a:rPr>
              <a:t>[Planned]</a:t>
            </a:r>
            <a:endParaRPr sz="750" dirty="0">
              <a:latin typeface="Arial MT"/>
              <a:cs typeface="Arial MT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1968945" y="1059117"/>
            <a:ext cx="3086735" cy="3903345"/>
            <a:chOff x="444944" y="1059116"/>
            <a:chExt cx="3086735" cy="3903345"/>
          </a:xfrm>
        </p:grpSpPr>
        <p:sp>
          <p:nvSpPr>
            <p:cNvPr id="7" name="object 7"/>
            <p:cNvSpPr/>
            <p:nvPr/>
          </p:nvSpPr>
          <p:spPr>
            <a:xfrm>
              <a:off x="457961" y="1072133"/>
              <a:ext cx="3060700" cy="3877310"/>
            </a:xfrm>
            <a:custGeom>
              <a:avLst/>
              <a:gdLst/>
              <a:ahLst/>
              <a:cxnLst/>
              <a:rect l="l" t="t" r="r" b="b"/>
              <a:pathLst>
                <a:path w="3060700" h="3877310">
                  <a:moveTo>
                    <a:pt x="3060191" y="0"/>
                  </a:moveTo>
                  <a:lnTo>
                    <a:pt x="0" y="0"/>
                  </a:lnTo>
                  <a:lnTo>
                    <a:pt x="0" y="3877055"/>
                  </a:lnTo>
                  <a:lnTo>
                    <a:pt x="3060191" y="3877055"/>
                  </a:lnTo>
                  <a:lnTo>
                    <a:pt x="3060191" y="0"/>
                  </a:lnTo>
                  <a:close/>
                </a:path>
              </a:pathLst>
            </a:custGeom>
            <a:solidFill>
              <a:srgbClr val="F9EBD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57961" y="1072133"/>
              <a:ext cx="3060700" cy="3877310"/>
            </a:xfrm>
            <a:custGeom>
              <a:avLst/>
              <a:gdLst/>
              <a:ahLst/>
              <a:cxnLst/>
              <a:rect l="l" t="t" r="r" b="b"/>
              <a:pathLst>
                <a:path w="3060700" h="3877310">
                  <a:moveTo>
                    <a:pt x="0" y="3877055"/>
                  </a:moveTo>
                  <a:lnTo>
                    <a:pt x="3060191" y="3877055"/>
                  </a:lnTo>
                  <a:lnTo>
                    <a:pt x="3060191" y="0"/>
                  </a:lnTo>
                  <a:lnTo>
                    <a:pt x="0" y="0"/>
                  </a:lnTo>
                  <a:lnTo>
                    <a:pt x="0" y="3877055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802890" y="1101344"/>
            <a:ext cx="1429385" cy="25199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spcBef>
                <a:spcPts val="105"/>
              </a:spcBef>
            </a:pP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Bamboo</a:t>
            </a:r>
            <a:r>
              <a:rPr sz="800" b="1" spc="-40" dirty="0">
                <a:solidFill>
                  <a:srgbClr val="415363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+</a:t>
            </a:r>
            <a:r>
              <a:rPr sz="800" b="1" spc="-15" dirty="0">
                <a:solidFill>
                  <a:srgbClr val="415363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uDeploy</a:t>
            </a:r>
            <a:r>
              <a:rPr sz="800" b="1" spc="-20" dirty="0">
                <a:solidFill>
                  <a:srgbClr val="415363"/>
                </a:solidFill>
                <a:latin typeface="Arial"/>
                <a:cs typeface="Arial"/>
              </a:rPr>
              <a:t> </a:t>
            </a:r>
            <a:r>
              <a:rPr sz="800" b="1" spc="-5" dirty="0">
                <a:solidFill>
                  <a:srgbClr val="415363"/>
                </a:solidFill>
                <a:latin typeface="Arial"/>
                <a:cs typeface="Arial"/>
              </a:rPr>
              <a:t>[Checkin]</a:t>
            </a:r>
            <a:endParaRPr sz="800">
              <a:latin typeface="Arial"/>
              <a:cs typeface="Arial"/>
            </a:endParaRPr>
          </a:p>
          <a:p>
            <a:pPr marL="15240"/>
            <a:r>
              <a:rPr sz="750" dirty="0">
                <a:solidFill>
                  <a:srgbClr val="A61D1F"/>
                </a:solidFill>
                <a:latin typeface="Arial MT"/>
                <a:cs typeface="Arial MT"/>
              </a:rPr>
              <a:t>(Sep</a:t>
            </a:r>
            <a:r>
              <a:rPr sz="750" spc="-5" dirty="0">
                <a:solidFill>
                  <a:srgbClr val="A61D1F"/>
                </a:solidFill>
                <a:latin typeface="Arial MT"/>
                <a:cs typeface="Arial MT"/>
              </a:rPr>
              <a:t>a</a:t>
            </a:r>
            <a:r>
              <a:rPr sz="750" dirty="0">
                <a:solidFill>
                  <a:srgbClr val="A61D1F"/>
                </a:solidFill>
                <a:latin typeface="Arial MT"/>
                <a:cs typeface="Arial MT"/>
              </a:rPr>
              <a:t>rate</a:t>
            </a:r>
            <a:r>
              <a:rPr sz="750" spc="-45" dirty="0">
                <a:solidFill>
                  <a:srgbClr val="A61D1F"/>
                </a:solidFill>
                <a:latin typeface="Arial MT"/>
                <a:cs typeface="Arial MT"/>
              </a:rPr>
              <a:t> </a:t>
            </a:r>
            <a:r>
              <a:rPr sz="750" dirty="0">
                <a:solidFill>
                  <a:srgbClr val="A61D1F"/>
                </a:solidFill>
                <a:latin typeface="Arial MT"/>
                <a:cs typeface="Arial MT"/>
              </a:rPr>
              <a:t>pipe</a:t>
            </a:r>
            <a:r>
              <a:rPr sz="750" spc="-35" dirty="0">
                <a:solidFill>
                  <a:srgbClr val="A61D1F"/>
                </a:solidFill>
                <a:latin typeface="Arial MT"/>
                <a:cs typeface="Arial MT"/>
              </a:rPr>
              <a:t> </a:t>
            </a:r>
            <a:r>
              <a:rPr sz="750" spc="-10" dirty="0">
                <a:solidFill>
                  <a:srgbClr val="A61D1F"/>
                </a:solidFill>
                <a:latin typeface="Arial MT"/>
                <a:cs typeface="Arial MT"/>
              </a:rPr>
              <a:t>F</a:t>
            </a:r>
            <a:r>
              <a:rPr sz="750" dirty="0">
                <a:solidFill>
                  <a:srgbClr val="A61D1F"/>
                </a:solidFill>
                <a:latin typeface="Arial MT"/>
                <a:cs typeface="Arial MT"/>
              </a:rPr>
              <a:t>or</a:t>
            </a:r>
            <a:r>
              <a:rPr sz="750" spc="-5" dirty="0">
                <a:solidFill>
                  <a:srgbClr val="A61D1F"/>
                </a:solidFill>
                <a:latin typeface="Arial MT"/>
                <a:cs typeface="Arial MT"/>
              </a:rPr>
              <a:t> </a:t>
            </a:r>
            <a:r>
              <a:rPr sz="750" dirty="0">
                <a:solidFill>
                  <a:srgbClr val="A61D1F"/>
                </a:solidFill>
                <a:latin typeface="Arial MT"/>
                <a:cs typeface="Arial MT"/>
              </a:rPr>
              <a:t>each</a:t>
            </a:r>
            <a:r>
              <a:rPr sz="750" spc="-20" dirty="0">
                <a:solidFill>
                  <a:srgbClr val="A61D1F"/>
                </a:solidFill>
                <a:latin typeface="Arial MT"/>
                <a:cs typeface="Arial MT"/>
              </a:rPr>
              <a:t> </a:t>
            </a:r>
            <a:r>
              <a:rPr sz="750" spc="5" dirty="0">
                <a:solidFill>
                  <a:srgbClr val="A61D1F"/>
                </a:solidFill>
                <a:latin typeface="Arial MT"/>
                <a:cs typeface="Arial MT"/>
              </a:rPr>
              <a:t>s</a:t>
            </a:r>
            <a:r>
              <a:rPr sz="750" dirty="0">
                <a:solidFill>
                  <a:srgbClr val="A61D1F"/>
                </a:solidFill>
                <a:latin typeface="Arial MT"/>
                <a:cs typeface="Arial MT"/>
              </a:rPr>
              <a:t>ervi</a:t>
            </a:r>
            <a:r>
              <a:rPr sz="750" spc="-10" dirty="0">
                <a:solidFill>
                  <a:srgbClr val="A61D1F"/>
                </a:solidFill>
                <a:latin typeface="Arial MT"/>
                <a:cs typeface="Arial MT"/>
              </a:rPr>
              <a:t>c</a:t>
            </a:r>
            <a:r>
              <a:rPr sz="750" spc="-15" dirty="0">
                <a:solidFill>
                  <a:srgbClr val="A61D1F"/>
                </a:solidFill>
                <a:latin typeface="Arial MT"/>
                <a:cs typeface="Arial MT"/>
              </a:rPr>
              <a:t>e</a:t>
            </a:r>
            <a:r>
              <a:rPr sz="750" dirty="0">
                <a:solidFill>
                  <a:srgbClr val="A61D1F"/>
                </a:solidFill>
                <a:latin typeface="Arial MT"/>
                <a:cs typeface="Arial MT"/>
              </a:rPr>
              <a:t>)</a:t>
            </a:r>
            <a:endParaRPr sz="750">
              <a:latin typeface="Arial MT"/>
              <a:cs typeface="Arial MT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5006277" y="1059117"/>
            <a:ext cx="550545" cy="3903345"/>
            <a:chOff x="3482276" y="1059116"/>
            <a:chExt cx="550545" cy="3903345"/>
          </a:xfrm>
        </p:grpSpPr>
        <p:sp>
          <p:nvSpPr>
            <p:cNvPr id="11" name="object 11"/>
            <p:cNvSpPr/>
            <p:nvPr/>
          </p:nvSpPr>
          <p:spPr>
            <a:xfrm>
              <a:off x="3495294" y="1072133"/>
              <a:ext cx="524510" cy="3877310"/>
            </a:xfrm>
            <a:custGeom>
              <a:avLst/>
              <a:gdLst/>
              <a:ahLst/>
              <a:cxnLst/>
              <a:rect l="l" t="t" r="r" b="b"/>
              <a:pathLst>
                <a:path w="524510" h="3877310">
                  <a:moveTo>
                    <a:pt x="524255" y="0"/>
                  </a:moveTo>
                  <a:lnTo>
                    <a:pt x="0" y="0"/>
                  </a:lnTo>
                  <a:lnTo>
                    <a:pt x="0" y="3877055"/>
                  </a:lnTo>
                  <a:lnTo>
                    <a:pt x="524255" y="3877055"/>
                  </a:lnTo>
                  <a:lnTo>
                    <a:pt x="524255" y="0"/>
                  </a:lnTo>
                  <a:close/>
                </a:path>
              </a:pathLst>
            </a:custGeom>
            <a:solidFill>
              <a:srgbClr val="F9EBD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495294" y="1072133"/>
              <a:ext cx="524510" cy="3877310"/>
            </a:xfrm>
            <a:custGeom>
              <a:avLst/>
              <a:gdLst/>
              <a:ahLst/>
              <a:cxnLst/>
              <a:rect l="l" t="t" r="r" b="b"/>
              <a:pathLst>
                <a:path w="524510" h="3877310">
                  <a:moveTo>
                    <a:pt x="0" y="3877055"/>
                  </a:moveTo>
                  <a:lnTo>
                    <a:pt x="524255" y="3877055"/>
                  </a:lnTo>
                  <a:lnTo>
                    <a:pt x="524255" y="0"/>
                  </a:lnTo>
                  <a:lnTo>
                    <a:pt x="0" y="0"/>
                  </a:lnTo>
                  <a:lnTo>
                    <a:pt x="0" y="3877055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5031995" y="1101344"/>
            <a:ext cx="511175" cy="3771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080" indent="635" algn="ctr">
              <a:spcBef>
                <a:spcPts val="105"/>
              </a:spcBef>
            </a:pP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Bamboo </a:t>
            </a:r>
            <a:r>
              <a:rPr sz="800" b="1" spc="5" dirty="0">
                <a:solidFill>
                  <a:srgbClr val="415363"/>
                </a:solidFill>
                <a:latin typeface="Arial"/>
                <a:cs typeface="Arial"/>
              </a:rPr>
              <a:t> </a:t>
            </a:r>
            <a:r>
              <a:rPr sz="750" dirty="0">
                <a:solidFill>
                  <a:srgbClr val="415363"/>
                </a:solidFill>
                <a:latin typeface="Arial MT"/>
                <a:cs typeface="Arial MT"/>
              </a:rPr>
              <a:t>(</a:t>
            </a:r>
            <a:r>
              <a:rPr sz="750" spc="-10" dirty="0">
                <a:solidFill>
                  <a:srgbClr val="415363"/>
                </a:solidFill>
                <a:latin typeface="Arial MT"/>
                <a:cs typeface="Arial MT"/>
              </a:rPr>
              <a:t>C</a:t>
            </a:r>
            <a:r>
              <a:rPr sz="750" dirty="0">
                <a:solidFill>
                  <a:srgbClr val="415363"/>
                </a:solidFill>
                <a:latin typeface="Arial MT"/>
                <a:cs typeface="Arial MT"/>
              </a:rPr>
              <a:t>o</a:t>
            </a:r>
            <a:r>
              <a:rPr sz="750" spc="5" dirty="0">
                <a:solidFill>
                  <a:srgbClr val="415363"/>
                </a:solidFill>
                <a:latin typeface="Arial MT"/>
                <a:cs typeface="Arial MT"/>
              </a:rPr>
              <a:t>m</a:t>
            </a:r>
            <a:r>
              <a:rPr sz="750" dirty="0">
                <a:solidFill>
                  <a:srgbClr val="415363"/>
                </a:solidFill>
                <a:latin typeface="Arial MT"/>
                <a:cs typeface="Arial MT"/>
              </a:rPr>
              <a:t>bi</a:t>
            </a:r>
            <a:r>
              <a:rPr sz="750" spc="-15" dirty="0">
                <a:solidFill>
                  <a:srgbClr val="415363"/>
                </a:solidFill>
                <a:latin typeface="Arial MT"/>
                <a:cs typeface="Arial MT"/>
              </a:rPr>
              <a:t>n</a:t>
            </a:r>
            <a:r>
              <a:rPr sz="750" dirty="0">
                <a:solidFill>
                  <a:srgbClr val="415363"/>
                </a:solidFill>
                <a:latin typeface="Arial MT"/>
                <a:cs typeface="Arial MT"/>
              </a:rPr>
              <a:t>e</a:t>
            </a:r>
            <a:r>
              <a:rPr sz="750" spc="-15" dirty="0">
                <a:solidFill>
                  <a:srgbClr val="415363"/>
                </a:solidFill>
                <a:latin typeface="Arial MT"/>
                <a:cs typeface="Arial MT"/>
              </a:rPr>
              <a:t>d</a:t>
            </a:r>
            <a:r>
              <a:rPr sz="750" dirty="0">
                <a:solidFill>
                  <a:srgbClr val="415363"/>
                </a:solidFill>
                <a:latin typeface="Arial MT"/>
                <a:cs typeface="Arial MT"/>
              </a:rPr>
              <a:t>)  [Nightly]</a:t>
            </a:r>
            <a:endParaRPr sz="750">
              <a:latin typeface="Arial MT"/>
              <a:cs typeface="Arial MT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1980388" y="332359"/>
            <a:ext cx="5174615" cy="751488"/>
          </a:xfrm>
          <a:prstGeom prst="rect">
            <a:avLst/>
          </a:prstGeom>
        </p:spPr>
        <p:txBody>
          <a:bodyPr vert="horz" wrap="square" lIns="0" tIns="1270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094D80"/>
                </a:solidFill>
              </a:rPr>
              <a:t>Current State</a:t>
            </a:r>
            <a:r>
              <a:rPr spc="5" dirty="0">
                <a:solidFill>
                  <a:srgbClr val="094D80"/>
                </a:solidFill>
              </a:rPr>
              <a:t> </a:t>
            </a:r>
            <a:r>
              <a:rPr dirty="0">
                <a:solidFill>
                  <a:srgbClr val="094D80"/>
                </a:solidFill>
              </a:rPr>
              <a:t>–</a:t>
            </a:r>
            <a:r>
              <a:rPr spc="-5" dirty="0">
                <a:solidFill>
                  <a:srgbClr val="094D80"/>
                </a:solidFill>
              </a:rPr>
              <a:t> DevOps </a:t>
            </a:r>
            <a:r>
              <a:rPr dirty="0">
                <a:solidFill>
                  <a:srgbClr val="094D80"/>
                </a:solidFill>
              </a:rPr>
              <a:t>Pipeline</a:t>
            </a:r>
            <a:r>
              <a:rPr lang="en-US" dirty="0">
                <a:solidFill>
                  <a:srgbClr val="094D80"/>
                </a:solidFill>
              </a:rPr>
              <a:t> (Example)</a:t>
            </a:r>
            <a:endParaRPr dirty="0"/>
          </a:p>
        </p:txBody>
      </p:sp>
      <p:grpSp>
        <p:nvGrpSpPr>
          <p:cNvPr id="15" name="object 15"/>
          <p:cNvGrpSpPr/>
          <p:nvPr/>
        </p:nvGrpSpPr>
        <p:grpSpPr>
          <a:xfrm>
            <a:off x="1927860" y="1650492"/>
            <a:ext cx="6806565" cy="4457700"/>
            <a:chOff x="403859" y="1650492"/>
            <a:chExt cx="6806565" cy="4457700"/>
          </a:xfrm>
        </p:grpSpPr>
        <p:pic>
          <p:nvPicPr>
            <p:cNvPr id="16" name="object 1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03859" y="1650492"/>
              <a:ext cx="6806183" cy="4457700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4230624" y="4661916"/>
              <a:ext cx="772795" cy="437515"/>
            </a:xfrm>
            <a:custGeom>
              <a:avLst/>
              <a:gdLst/>
              <a:ahLst/>
              <a:cxnLst/>
              <a:rect l="l" t="t" r="r" b="b"/>
              <a:pathLst>
                <a:path w="772795" h="437514">
                  <a:moveTo>
                    <a:pt x="772668" y="0"/>
                  </a:moveTo>
                  <a:lnTo>
                    <a:pt x="0" y="0"/>
                  </a:lnTo>
                  <a:lnTo>
                    <a:pt x="0" y="437387"/>
                  </a:lnTo>
                  <a:lnTo>
                    <a:pt x="772668" y="437387"/>
                  </a:lnTo>
                  <a:lnTo>
                    <a:pt x="772668" y="0"/>
                  </a:lnTo>
                  <a:close/>
                </a:path>
              </a:pathLst>
            </a:custGeom>
            <a:solidFill>
              <a:srgbClr val="34343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5906516" y="4744340"/>
            <a:ext cx="469265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1594" marR="5080" indent="-49530">
              <a:spcBef>
                <a:spcPts val="100"/>
              </a:spcBef>
            </a:pPr>
            <a:r>
              <a:rPr sz="800" dirty="0">
                <a:solidFill>
                  <a:srgbClr val="D0D0D0"/>
                </a:solidFill>
                <a:latin typeface="Arial MT"/>
                <a:cs typeface="Arial MT"/>
              </a:rPr>
              <a:t>TESTI</a:t>
            </a:r>
            <a:r>
              <a:rPr sz="800" spc="-5" dirty="0">
                <a:solidFill>
                  <a:srgbClr val="D0D0D0"/>
                </a:solidFill>
                <a:latin typeface="Arial MT"/>
                <a:cs typeface="Arial MT"/>
              </a:rPr>
              <a:t>N</a:t>
            </a:r>
            <a:r>
              <a:rPr sz="800" dirty="0">
                <a:solidFill>
                  <a:srgbClr val="D0D0D0"/>
                </a:solidFill>
                <a:latin typeface="Arial MT"/>
                <a:cs typeface="Arial MT"/>
              </a:rPr>
              <a:t>G  TOOLS</a:t>
            </a:r>
            <a:endParaRPr sz="800">
              <a:latin typeface="Arial MT"/>
              <a:cs typeface="Arial M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518917" y="3628644"/>
            <a:ext cx="490855" cy="176330"/>
          </a:xfrm>
          <a:prstGeom prst="rect">
            <a:avLst/>
          </a:prstGeom>
          <a:solidFill>
            <a:srgbClr val="5FAEAE"/>
          </a:solidFill>
        </p:spPr>
        <p:txBody>
          <a:bodyPr vert="horz" wrap="square" lIns="0" tIns="67945" rIns="0" bIns="0" rtlCol="0">
            <a:spAutoFit/>
          </a:bodyPr>
          <a:lstStyle/>
          <a:p>
            <a:pPr marL="635" algn="ctr">
              <a:spcBef>
                <a:spcPts val="53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Pair</a:t>
            </a:r>
            <a:endParaRPr sz="700" dirty="0">
              <a:latin typeface="Arial MT"/>
              <a:cs typeface="Arial MT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4024883" y="3361945"/>
            <a:ext cx="489584" cy="247015"/>
          </a:xfrm>
          <a:custGeom>
            <a:avLst/>
            <a:gdLst/>
            <a:ahLst/>
            <a:cxnLst/>
            <a:rect l="l" t="t" r="r" b="b"/>
            <a:pathLst>
              <a:path w="489585" h="247014">
                <a:moveTo>
                  <a:pt x="489204" y="0"/>
                </a:moveTo>
                <a:lnTo>
                  <a:pt x="0" y="0"/>
                </a:lnTo>
                <a:lnTo>
                  <a:pt x="0" y="246888"/>
                </a:lnTo>
                <a:lnTo>
                  <a:pt x="489204" y="246888"/>
                </a:lnTo>
                <a:lnTo>
                  <a:pt x="489204" y="0"/>
                </a:lnTo>
                <a:close/>
              </a:path>
            </a:pathLst>
          </a:custGeom>
          <a:solidFill>
            <a:srgbClr val="006F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4164202" y="3418460"/>
            <a:ext cx="22352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spcBef>
                <a:spcPts val="9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Co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d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e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534150" y="1985773"/>
            <a:ext cx="535940" cy="194925"/>
          </a:xfrm>
          <a:prstGeom prst="rect">
            <a:avLst/>
          </a:prstGeom>
          <a:solidFill>
            <a:srgbClr val="009994"/>
          </a:solidFill>
        </p:spPr>
        <p:txBody>
          <a:bodyPr vert="horz" wrap="square" lIns="0" tIns="86360" rIns="0" bIns="0" rtlCol="0">
            <a:spAutoFit/>
          </a:bodyPr>
          <a:lstStyle/>
          <a:p>
            <a:pPr marL="55244">
              <a:spcBef>
                <a:spcPts val="680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Automated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069836" y="1738883"/>
            <a:ext cx="513715" cy="176330"/>
          </a:xfrm>
          <a:prstGeom prst="rect">
            <a:avLst/>
          </a:prstGeom>
          <a:solidFill>
            <a:srgbClr val="009994"/>
          </a:solidFill>
        </p:spPr>
        <p:txBody>
          <a:bodyPr vert="horz" wrap="square" lIns="0" tIns="67945" rIns="0" bIns="0" rtlCol="0">
            <a:spAutoFit/>
          </a:bodyPr>
          <a:lstStyle/>
          <a:p>
            <a:pPr marL="102235">
              <a:spcBef>
                <a:spcPts val="535"/>
              </a:spcBef>
            </a:pP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Manual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036564" y="2273807"/>
            <a:ext cx="497840" cy="176330"/>
          </a:xfrm>
          <a:prstGeom prst="rect">
            <a:avLst/>
          </a:prstGeom>
          <a:solidFill>
            <a:srgbClr val="009994"/>
          </a:solidFill>
        </p:spPr>
        <p:txBody>
          <a:bodyPr vert="horz" wrap="square" lIns="0" tIns="67945" rIns="0" bIns="0" rtlCol="0">
            <a:spAutoFit/>
          </a:bodyPr>
          <a:lstStyle/>
          <a:p>
            <a:pPr marL="99060">
              <a:spcBef>
                <a:spcPts val="53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uDeploy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7583424" y="1469137"/>
            <a:ext cx="490855" cy="247015"/>
          </a:xfrm>
          <a:custGeom>
            <a:avLst/>
            <a:gdLst/>
            <a:ahLst/>
            <a:cxnLst/>
            <a:rect l="l" t="t" r="r" b="b"/>
            <a:pathLst>
              <a:path w="490854" h="247014">
                <a:moveTo>
                  <a:pt x="490727" y="0"/>
                </a:moveTo>
                <a:lnTo>
                  <a:pt x="0" y="0"/>
                </a:lnTo>
                <a:lnTo>
                  <a:pt x="0" y="246887"/>
                </a:lnTo>
                <a:lnTo>
                  <a:pt x="490727" y="246887"/>
                </a:lnTo>
                <a:lnTo>
                  <a:pt x="490727" y="0"/>
                </a:lnTo>
                <a:close/>
              </a:path>
            </a:pathLst>
          </a:custGeom>
          <a:solidFill>
            <a:srgbClr val="00999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7583424" y="1469136"/>
            <a:ext cx="490855" cy="176330"/>
          </a:xfrm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marL="31750">
              <a:spcBef>
                <a:spcPts val="53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Automated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041391" y="2811780"/>
            <a:ext cx="489584" cy="177613"/>
          </a:xfrm>
          <a:prstGeom prst="rect">
            <a:avLst/>
          </a:prstGeom>
          <a:solidFill>
            <a:srgbClr val="E25E60"/>
          </a:solidFill>
        </p:spPr>
        <p:txBody>
          <a:bodyPr vert="horz" wrap="square" lIns="0" tIns="69215" rIns="0" bIns="0" rtlCol="0">
            <a:spAutoFit/>
          </a:bodyPr>
          <a:lstStyle/>
          <a:p>
            <a:pPr marL="151130">
              <a:spcBef>
                <a:spcPts val="54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Junit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488692" y="4163568"/>
            <a:ext cx="527685" cy="177613"/>
          </a:xfrm>
          <a:prstGeom prst="rect">
            <a:avLst/>
          </a:prstGeom>
          <a:solidFill>
            <a:srgbClr val="F9EBD2"/>
          </a:solidFill>
        </p:spPr>
        <p:txBody>
          <a:bodyPr vert="horz" wrap="square" lIns="0" tIns="69215" rIns="0" bIns="0" rtlCol="0">
            <a:spAutoFit/>
          </a:bodyPr>
          <a:lstStyle/>
          <a:p>
            <a:pPr marL="123189">
              <a:spcBef>
                <a:spcPts val="545"/>
              </a:spcBef>
            </a:pP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Maven</a:t>
            </a:r>
            <a:endParaRPr sz="700">
              <a:latin typeface="Arial MT"/>
              <a:cs typeface="Arial MT"/>
            </a:endParaRPr>
          </a:p>
        </p:txBody>
      </p:sp>
      <p:grpSp>
        <p:nvGrpSpPr>
          <p:cNvPr id="29" name="object 29"/>
          <p:cNvGrpSpPr/>
          <p:nvPr/>
        </p:nvGrpSpPr>
        <p:grpSpPr>
          <a:xfrm>
            <a:off x="9067737" y="1176465"/>
            <a:ext cx="1146175" cy="285115"/>
            <a:chOff x="7543736" y="1176464"/>
            <a:chExt cx="1146175" cy="285115"/>
          </a:xfrm>
        </p:grpSpPr>
        <p:sp>
          <p:nvSpPr>
            <p:cNvPr id="30" name="object 30"/>
            <p:cNvSpPr/>
            <p:nvPr/>
          </p:nvSpPr>
          <p:spPr>
            <a:xfrm>
              <a:off x="7556753" y="1189482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80">
                  <a:moveTo>
                    <a:pt x="1120140" y="0"/>
                  </a:moveTo>
                  <a:lnTo>
                    <a:pt x="0" y="0"/>
                  </a:lnTo>
                  <a:lnTo>
                    <a:pt x="0" y="259079"/>
                  </a:lnTo>
                  <a:lnTo>
                    <a:pt x="1120140" y="259079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E25E6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7556753" y="1189482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80">
                  <a:moveTo>
                    <a:pt x="0" y="259079"/>
                  </a:moveTo>
                  <a:lnTo>
                    <a:pt x="1120140" y="259079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9079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2" name="object 32"/>
          <p:cNvSpPr txBox="1"/>
          <p:nvPr/>
        </p:nvSpPr>
        <p:spPr>
          <a:xfrm>
            <a:off x="9080754" y="1242187"/>
            <a:ext cx="11201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37490">
              <a:spcBef>
                <a:spcPts val="105"/>
              </a:spcBef>
            </a:pP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Not</a:t>
            </a:r>
            <a:r>
              <a:rPr sz="800" spc="-2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Integrated</a:t>
            </a:r>
            <a:endParaRPr sz="800">
              <a:latin typeface="Arial MT"/>
              <a:cs typeface="Arial MT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9067737" y="1443165"/>
            <a:ext cx="1146175" cy="283845"/>
            <a:chOff x="7543736" y="1443164"/>
            <a:chExt cx="1146175" cy="283845"/>
          </a:xfrm>
        </p:grpSpPr>
        <p:sp>
          <p:nvSpPr>
            <p:cNvPr id="34" name="object 34"/>
            <p:cNvSpPr/>
            <p:nvPr/>
          </p:nvSpPr>
          <p:spPr>
            <a:xfrm>
              <a:off x="7556753" y="1456182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120140" y="257556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999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7556753" y="1456182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6"/>
                  </a:moveTo>
                  <a:lnTo>
                    <a:pt x="1120140" y="257556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6" name="object 36"/>
          <p:cNvSpPr txBox="1"/>
          <p:nvPr/>
        </p:nvSpPr>
        <p:spPr>
          <a:xfrm>
            <a:off x="9080754" y="1508251"/>
            <a:ext cx="11201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5420">
              <a:spcBef>
                <a:spcPts val="105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Partly</a:t>
            </a:r>
            <a:r>
              <a:rPr sz="800" spc="-3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Integrated</a:t>
            </a:r>
            <a:endParaRPr sz="800" dirty="0">
              <a:latin typeface="Arial MT"/>
              <a:cs typeface="Arial MT"/>
            </a:endParaRPr>
          </a:p>
        </p:txBody>
      </p:sp>
      <p:grpSp>
        <p:nvGrpSpPr>
          <p:cNvPr id="37" name="object 37"/>
          <p:cNvGrpSpPr/>
          <p:nvPr/>
        </p:nvGrpSpPr>
        <p:grpSpPr>
          <a:xfrm>
            <a:off x="9067801" y="1709928"/>
            <a:ext cx="1146175" cy="283845"/>
            <a:chOff x="7543800" y="1709927"/>
            <a:chExt cx="1146175" cy="283845"/>
          </a:xfrm>
        </p:grpSpPr>
        <p:sp>
          <p:nvSpPr>
            <p:cNvPr id="38" name="object 38"/>
            <p:cNvSpPr/>
            <p:nvPr/>
          </p:nvSpPr>
          <p:spPr>
            <a:xfrm>
              <a:off x="7556753" y="1722881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120140" y="257556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6F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7556753" y="1722881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6"/>
                  </a:moveTo>
                  <a:lnTo>
                    <a:pt x="1120140" y="257556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0" name="object 40"/>
          <p:cNvSpPr txBox="1"/>
          <p:nvPr/>
        </p:nvSpPr>
        <p:spPr>
          <a:xfrm>
            <a:off x="9080754" y="1774698"/>
            <a:ext cx="11201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10185">
              <a:spcBef>
                <a:spcPts val="105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Fully</a:t>
            </a:r>
            <a:r>
              <a:rPr sz="800" spc="-4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Integrated</a:t>
            </a:r>
            <a:endParaRPr sz="800">
              <a:latin typeface="Arial MT"/>
              <a:cs typeface="Arial MT"/>
            </a:endParaRPr>
          </a:p>
        </p:txBody>
      </p:sp>
      <p:grpSp>
        <p:nvGrpSpPr>
          <p:cNvPr id="41" name="object 41"/>
          <p:cNvGrpSpPr/>
          <p:nvPr/>
        </p:nvGrpSpPr>
        <p:grpSpPr>
          <a:xfrm>
            <a:off x="9067737" y="4329621"/>
            <a:ext cx="1146175" cy="285115"/>
            <a:chOff x="7543736" y="4329620"/>
            <a:chExt cx="1146175" cy="285115"/>
          </a:xfrm>
        </p:grpSpPr>
        <p:sp>
          <p:nvSpPr>
            <p:cNvPr id="42" name="object 42"/>
            <p:cNvSpPr/>
            <p:nvPr/>
          </p:nvSpPr>
          <p:spPr>
            <a:xfrm>
              <a:off x="7556753" y="4342638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79">
                  <a:moveTo>
                    <a:pt x="1120140" y="0"/>
                  </a:moveTo>
                  <a:lnTo>
                    <a:pt x="0" y="0"/>
                  </a:lnTo>
                  <a:lnTo>
                    <a:pt x="0" y="259080"/>
                  </a:lnTo>
                  <a:lnTo>
                    <a:pt x="1120140" y="259080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9278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7556753" y="4342638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79">
                  <a:moveTo>
                    <a:pt x="0" y="259080"/>
                  </a:moveTo>
                  <a:lnTo>
                    <a:pt x="1120140" y="259080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9080"/>
                  </a:lnTo>
                  <a:close/>
                </a:path>
              </a:pathLst>
            </a:custGeom>
            <a:ln w="2590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4" name="object 44"/>
          <p:cNvSpPr txBox="1"/>
          <p:nvPr/>
        </p:nvSpPr>
        <p:spPr>
          <a:xfrm>
            <a:off x="9080754" y="4395597"/>
            <a:ext cx="112014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4460">
              <a:spcBef>
                <a:spcPts val="100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End</a:t>
            </a:r>
            <a:r>
              <a:rPr sz="800" spc="-1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to</a:t>
            </a:r>
            <a:r>
              <a:rPr sz="800" spc="-2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End</a:t>
            </a:r>
            <a:r>
              <a:rPr sz="800" spc="-2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Testing</a:t>
            </a:r>
            <a:endParaRPr sz="800">
              <a:latin typeface="Arial MT"/>
              <a:cs typeface="Arial MT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9484869" y="4149345"/>
            <a:ext cx="281305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b="1" spc="-5" dirty="0">
                <a:solidFill>
                  <a:srgbClr val="415363"/>
                </a:solidFill>
                <a:latin typeface="Arial"/>
                <a:cs typeface="Arial"/>
              </a:rPr>
              <a:t>U</a:t>
            </a:r>
            <a:r>
              <a:rPr sz="1000" b="1" spc="-40" dirty="0">
                <a:solidFill>
                  <a:srgbClr val="415363"/>
                </a:solidFill>
                <a:latin typeface="Arial"/>
                <a:cs typeface="Arial"/>
              </a:rPr>
              <a:t>A</a:t>
            </a:r>
            <a:r>
              <a:rPr sz="1000" b="1" spc="-5" dirty="0">
                <a:solidFill>
                  <a:srgbClr val="415363"/>
                </a:solidFill>
                <a:latin typeface="Arial"/>
                <a:cs typeface="Arial"/>
              </a:rPr>
              <a:t>T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9067737" y="4596321"/>
            <a:ext cx="1146175" cy="283845"/>
            <a:chOff x="7543736" y="4596320"/>
            <a:chExt cx="1146175" cy="283845"/>
          </a:xfrm>
        </p:grpSpPr>
        <p:sp>
          <p:nvSpPr>
            <p:cNvPr id="47" name="object 47"/>
            <p:cNvSpPr/>
            <p:nvPr/>
          </p:nvSpPr>
          <p:spPr>
            <a:xfrm>
              <a:off x="7556753" y="4609338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120140" y="257556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9278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7556753" y="4609338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6"/>
                  </a:moveTo>
                  <a:lnTo>
                    <a:pt x="1120140" y="257556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9" name="object 49"/>
          <p:cNvSpPr txBox="1"/>
          <p:nvPr/>
        </p:nvSpPr>
        <p:spPr>
          <a:xfrm>
            <a:off x="9080754" y="4662043"/>
            <a:ext cx="112014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85725">
              <a:spcBef>
                <a:spcPts val="100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Performance</a:t>
            </a:r>
            <a:r>
              <a:rPr sz="800" spc="-5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Testing</a:t>
            </a:r>
            <a:endParaRPr sz="800">
              <a:latin typeface="Arial MT"/>
              <a:cs typeface="Arial MT"/>
            </a:endParaRPr>
          </a:p>
        </p:txBody>
      </p:sp>
      <p:grpSp>
        <p:nvGrpSpPr>
          <p:cNvPr id="50" name="object 50"/>
          <p:cNvGrpSpPr/>
          <p:nvPr/>
        </p:nvGrpSpPr>
        <p:grpSpPr>
          <a:xfrm>
            <a:off x="9067801" y="4863085"/>
            <a:ext cx="1146175" cy="283845"/>
            <a:chOff x="7543800" y="4863084"/>
            <a:chExt cx="1146175" cy="283845"/>
          </a:xfrm>
        </p:grpSpPr>
        <p:sp>
          <p:nvSpPr>
            <p:cNvPr id="51" name="object 51"/>
            <p:cNvSpPr/>
            <p:nvPr/>
          </p:nvSpPr>
          <p:spPr>
            <a:xfrm>
              <a:off x="7556753" y="4876038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120140" y="257556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9278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7556753" y="4876038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6"/>
                  </a:moveTo>
                  <a:lnTo>
                    <a:pt x="1120140" y="257556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3" name="object 53"/>
          <p:cNvSpPr txBox="1"/>
          <p:nvPr/>
        </p:nvSpPr>
        <p:spPr>
          <a:xfrm>
            <a:off x="9080754" y="4928743"/>
            <a:ext cx="112014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4945">
              <a:spcBef>
                <a:spcPts val="100"/>
              </a:spcBef>
            </a:pP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Security</a:t>
            </a:r>
            <a:r>
              <a:rPr sz="800" spc="-4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Testing</a:t>
            </a:r>
            <a:endParaRPr sz="800">
              <a:latin typeface="Arial MT"/>
              <a:cs typeface="Arial MT"/>
            </a:endParaRPr>
          </a:p>
        </p:txBody>
      </p:sp>
      <p:grpSp>
        <p:nvGrpSpPr>
          <p:cNvPr id="54" name="object 54"/>
          <p:cNvGrpSpPr/>
          <p:nvPr/>
        </p:nvGrpSpPr>
        <p:grpSpPr>
          <a:xfrm>
            <a:off x="9067737" y="2673033"/>
            <a:ext cx="1146175" cy="285115"/>
            <a:chOff x="7543736" y="2673032"/>
            <a:chExt cx="1146175" cy="285115"/>
          </a:xfrm>
        </p:grpSpPr>
        <p:sp>
          <p:nvSpPr>
            <p:cNvPr id="55" name="object 55"/>
            <p:cNvSpPr/>
            <p:nvPr/>
          </p:nvSpPr>
          <p:spPr>
            <a:xfrm>
              <a:off x="7556753" y="2686050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80">
                  <a:moveTo>
                    <a:pt x="1120140" y="0"/>
                  </a:moveTo>
                  <a:lnTo>
                    <a:pt x="0" y="0"/>
                  </a:lnTo>
                  <a:lnTo>
                    <a:pt x="0" y="259079"/>
                  </a:lnTo>
                  <a:lnTo>
                    <a:pt x="1120140" y="259079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6F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7556753" y="2686050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80">
                  <a:moveTo>
                    <a:pt x="0" y="259079"/>
                  </a:moveTo>
                  <a:lnTo>
                    <a:pt x="1120140" y="259079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9079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7" name="object 57"/>
          <p:cNvSpPr txBox="1"/>
          <p:nvPr/>
        </p:nvSpPr>
        <p:spPr>
          <a:xfrm>
            <a:off x="9080754" y="2738755"/>
            <a:ext cx="11201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635" algn="ctr">
              <a:spcBef>
                <a:spcPts val="105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HPOV</a:t>
            </a:r>
            <a:endParaRPr sz="800">
              <a:latin typeface="Arial MT"/>
              <a:cs typeface="Arial MT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9283446" y="2340101"/>
            <a:ext cx="682625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72720" marR="5080" indent="-160020">
              <a:spcBef>
                <a:spcPts val="95"/>
              </a:spcBef>
            </a:pPr>
            <a:r>
              <a:rPr sz="1000" b="1" spc="15" dirty="0">
                <a:solidFill>
                  <a:srgbClr val="415363"/>
                </a:solidFill>
                <a:latin typeface="Arial"/>
                <a:cs typeface="Arial"/>
              </a:rPr>
              <a:t>M</a:t>
            </a:r>
            <a:r>
              <a:rPr sz="1000" b="1" spc="-5" dirty="0">
                <a:solidFill>
                  <a:srgbClr val="415363"/>
                </a:solidFill>
                <a:latin typeface="Arial"/>
                <a:cs typeface="Arial"/>
              </a:rPr>
              <a:t>onito</a:t>
            </a:r>
            <a:r>
              <a:rPr sz="1000" b="1" spc="-10" dirty="0">
                <a:solidFill>
                  <a:srgbClr val="415363"/>
                </a:solidFill>
                <a:latin typeface="Arial"/>
                <a:cs typeface="Arial"/>
              </a:rPr>
              <a:t>r</a:t>
            </a:r>
            <a:r>
              <a:rPr sz="1000" b="1" spc="-5" dirty="0">
                <a:solidFill>
                  <a:srgbClr val="415363"/>
                </a:solidFill>
                <a:latin typeface="Arial"/>
                <a:cs typeface="Arial"/>
              </a:rPr>
              <a:t>ing  </a:t>
            </a:r>
            <a:r>
              <a:rPr sz="1000" b="1" dirty="0">
                <a:solidFill>
                  <a:srgbClr val="415363"/>
                </a:solidFill>
                <a:latin typeface="Arial"/>
                <a:cs typeface="Arial"/>
              </a:rPr>
              <a:t>Tools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59" name="object 59"/>
          <p:cNvGrpSpPr/>
          <p:nvPr/>
        </p:nvGrpSpPr>
        <p:grpSpPr>
          <a:xfrm>
            <a:off x="9067737" y="2939733"/>
            <a:ext cx="1146175" cy="283845"/>
            <a:chOff x="7543736" y="2939732"/>
            <a:chExt cx="1146175" cy="283845"/>
          </a:xfrm>
        </p:grpSpPr>
        <p:sp>
          <p:nvSpPr>
            <p:cNvPr id="60" name="object 60"/>
            <p:cNvSpPr/>
            <p:nvPr/>
          </p:nvSpPr>
          <p:spPr>
            <a:xfrm>
              <a:off x="7556753" y="2952750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5"/>
                  </a:lnTo>
                  <a:lnTo>
                    <a:pt x="1120140" y="257555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6F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7556753" y="2952750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5"/>
                  </a:moveTo>
                  <a:lnTo>
                    <a:pt x="1120140" y="257555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5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2" name="object 62"/>
          <p:cNvSpPr txBox="1"/>
          <p:nvPr/>
        </p:nvSpPr>
        <p:spPr>
          <a:xfrm>
            <a:off x="9080754" y="3004566"/>
            <a:ext cx="11201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spcBef>
                <a:spcPts val="105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QPASA</a:t>
            </a:r>
            <a:endParaRPr sz="800">
              <a:latin typeface="Arial MT"/>
              <a:cs typeface="Arial MT"/>
            </a:endParaRPr>
          </a:p>
        </p:txBody>
      </p:sp>
      <p:grpSp>
        <p:nvGrpSpPr>
          <p:cNvPr id="63" name="object 63"/>
          <p:cNvGrpSpPr/>
          <p:nvPr/>
        </p:nvGrpSpPr>
        <p:grpSpPr>
          <a:xfrm>
            <a:off x="9067737" y="3204909"/>
            <a:ext cx="1146175" cy="285115"/>
            <a:chOff x="7543736" y="3204908"/>
            <a:chExt cx="1146175" cy="285115"/>
          </a:xfrm>
        </p:grpSpPr>
        <p:sp>
          <p:nvSpPr>
            <p:cNvPr id="64" name="object 64"/>
            <p:cNvSpPr/>
            <p:nvPr/>
          </p:nvSpPr>
          <p:spPr>
            <a:xfrm>
              <a:off x="7556753" y="3217925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79">
                  <a:moveTo>
                    <a:pt x="1120140" y="0"/>
                  </a:moveTo>
                  <a:lnTo>
                    <a:pt x="0" y="0"/>
                  </a:lnTo>
                  <a:lnTo>
                    <a:pt x="0" y="259079"/>
                  </a:lnTo>
                  <a:lnTo>
                    <a:pt x="1120140" y="259079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6F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7556753" y="3217925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79">
                  <a:moveTo>
                    <a:pt x="0" y="259079"/>
                  </a:moveTo>
                  <a:lnTo>
                    <a:pt x="1120140" y="259079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9079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6" name="object 66"/>
          <p:cNvSpPr txBox="1"/>
          <p:nvPr/>
        </p:nvSpPr>
        <p:spPr>
          <a:xfrm>
            <a:off x="9080754" y="3270630"/>
            <a:ext cx="11201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spcBef>
                <a:spcPts val="105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Splunk</a:t>
            </a:r>
            <a:endParaRPr sz="800">
              <a:latin typeface="Arial MT"/>
              <a:cs typeface="Arial MT"/>
            </a:endParaRPr>
          </a:p>
        </p:txBody>
      </p:sp>
      <p:grpSp>
        <p:nvGrpSpPr>
          <p:cNvPr id="67" name="object 67"/>
          <p:cNvGrpSpPr/>
          <p:nvPr/>
        </p:nvGrpSpPr>
        <p:grpSpPr>
          <a:xfrm>
            <a:off x="9067801" y="3471672"/>
            <a:ext cx="1146175" cy="283845"/>
            <a:chOff x="7543800" y="3471671"/>
            <a:chExt cx="1146175" cy="283845"/>
          </a:xfrm>
        </p:grpSpPr>
        <p:sp>
          <p:nvSpPr>
            <p:cNvPr id="68" name="object 68"/>
            <p:cNvSpPr/>
            <p:nvPr/>
          </p:nvSpPr>
          <p:spPr>
            <a:xfrm>
              <a:off x="7556753" y="3484625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120140" y="257556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6F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7556753" y="3484625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6"/>
                  </a:moveTo>
                  <a:lnTo>
                    <a:pt x="1120140" y="257556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0" name="object 70"/>
          <p:cNvSpPr txBox="1"/>
          <p:nvPr/>
        </p:nvSpPr>
        <p:spPr>
          <a:xfrm>
            <a:off x="9080754" y="3536696"/>
            <a:ext cx="11201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30200">
              <a:spcBef>
                <a:spcPts val="105"/>
              </a:spcBef>
            </a:pP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New</a:t>
            </a:r>
            <a:r>
              <a:rPr sz="800" spc="-3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Relic</a:t>
            </a:r>
            <a:endParaRPr sz="800">
              <a:latin typeface="Arial MT"/>
              <a:cs typeface="Arial MT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1999487" y="4440935"/>
            <a:ext cx="489584" cy="176972"/>
          </a:xfrm>
          <a:prstGeom prst="rect">
            <a:avLst/>
          </a:prstGeom>
          <a:solidFill>
            <a:srgbClr val="006F6C"/>
          </a:solidFill>
        </p:spPr>
        <p:txBody>
          <a:bodyPr vert="horz" wrap="square" lIns="0" tIns="68580" rIns="0" bIns="0" rtlCol="0">
            <a:spAutoFit/>
          </a:bodyPr>
          <a:lstStyle/>
          <a:p>
            <a:pPr marL="152400">
              <a:spcBef>
                <a:spcPts val="540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SVN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3015996" y="3628644"/>
            <a:ext cx="502920" cy="453970"/>
          </a:xfrm>
          <a:prstGeom prst="rect">
            <a:avLst/>
          </a:prstGeom>
          <a:solidFill>
            <a:srgbClr val="006F6C"/>
          </a:solidFill>
        </p:spPr>
        <p:txBody>
          <a:bodyPr vert="horz" wrap="square" lIns="0" tIns="68580" rIns="0" bIns="0" rtlCol="0">
            <a:spAutoFit/>
          </a:bodyPr>
          <a:lstStyle/>
          <a:p>
            <a:pPr marL="93980">
              <a:spcBef>
                <a:spcPts val="540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Mockito</a:t>
            </a:r>
            <a:endParaRPr sz="700">
              <a:latin typeface="Arial MT"/>
              <a:cs typeface="Arial MT"/>
            </a:endParaRPr>
          </a:p>
          <a:p>
            <a:pPr>
              <a:lnSpc>
                <a:spcPct val="100000"/>
              </a:lnSpc>
            </a:pPr>
            <a:endParaRPr sz="1100">
              <a:latin typeface="Arial MT"/>
              <a:cs typeface="Arial MT"/>
            </a:endParaRPr>
          </a:p>
          <a:p>
            <a:pPr marL="151765"/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Junit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3015997" y="3361945"/>
            <a:ext cx="490855" cy="247015"/>
          </a:xfrm>
          <a:custGeom>
            <a:avLst/>
            <a:gdLst/>
            <a:ahLst/>
            <a:cxnLst/>
            <a:rect l="l" t="t" r="r" b="b"/>
            <a:pathLst>
              <a:path w="490855" h="247014">
                <a:moveTo>
                  <a:pt x="490728" y="0"/>
                </a:moveTo>
                <a:lnTo>
                  <a:pt x="0" y="0"/>
                </a:lnTo>
                <a:lnTo>
                  <a:pt x="0" y="246888"/>
                </a:lnTo>
                <a:lnTo>
                  <a:pt x="490728" y="246888"/>
                </a:lnTo>
                <a:lnTo>
                  <a:pt x="490728" y="0"/>
                </a:lnTo>
                <a:close/>
              </a:path>
            </a:pathLst>
          </a:custGeom>
          <a:solidFill>
            <a:srgbClr val="006F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 txBox="1"/>
          <p:nvPr/>
        </p:nvSpPr>
        <p:spPr>
          <a:xfrm>
            <a:off x="3098039" y="3418460"/>
            <a:ext cx="340995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spcBef>
                <a:spcPts val="9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P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ara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s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o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ft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3518917" y="3361945"/>
            <a:ext cx="490855" cy="247015"/>
          </a:xfrm>
          <a:custGeom>
            <a:avLst/>
            <a:gdLst/>
            <a:ahLst/>
            <a:cxnLst/>
            <a:rect l="l" t="t" r="r" b="b"/>
            <a:pathLst>
              <a:path w="490855" h="247014">
                <a:moveTo>
                  <a:pt x="490728" y="0"/>
                </a:moveTo>
                <a:lnTo>
                  <a:pt x="0" y="0"/>
                </a:lnTo>
                <a:lnTo>
                  <a:pt x="0" y="246888"/>
                </a:lnTo>
                <a:lnTo>
                  <a:pt x="490728" y="246888"/>
                </a:lnTo>
                <a:lnTo>
                  <a:pt x="490728" y="0"/>
                </a:lnTo>
                <a:close/>
              </a:path>
            </a:pathLst>
          </a:custGeom>
          <a:solidFill>
            <a:srgbClr val="E25E6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 txBox="1"/>
          <p:nvPr/>
        </p:nvSpPr>
        <p:spPr>
          <a:xfrm>
            <a:off x="3518917" y="3085339"/>
            <a:ext cx="490855" cy="461665"/>
          </a:xfrm>
          <a:prstGeom prst="rect">
            <a:avLst/>
          </a:prstGeom>
          <a:solidFill>
            <a:srgbClr val="E25E60"/>
          </a:solidFill>
        </p:spPr>
        <p:txBody>
          <a:bodyPr vert="horz" wrap="square" lIns="0" tIns="83820" rIns="0" bIns="0" rtlCol="0">
            <a:spAutoFit/>
          </a:bodyPr>
          <a:lstStyle/>
          <a:p>
            <a:pPr marL="124460">
              <a:spcBef>
                <a:spcPts val="660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Fortify</a:t>
            </a:r>
            <a:endParaRPr sz="700">
              <a:latin typeface="Arial MT"/>
              <a:cs typeface="Arial MT"/>
            </a:endParaRPr>
          </a:p>
          <a:p>
            <a:pPr>
              <a:spcBef>
                <a:spcPts val="10"/>
              </a:spcBef>
            </a:pPr>
            <a:endParaRPr sz="1050">
              <a:latin typeface="Arial MT"/>
              <a:cs typeface="Arial MT"/>
            </a:endParaRPr>
          </a:p>
          <a:p>
            <a:pPr marL="139700"/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Code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4524755" y="3090673"/>
            <a:ext cx="489584" cy="247015"/>
          </a:xfrm>
          <a:custGeom>
            <a:avLst/>
            <a:gdLst/>
            <a:ahLst/>
            <a:cxnLst/>
            <a:rect l="l" t="t" r="r" b="b"/>
            <a:pathLst>
              <a:path w="489585" h="247014">
                <a:moveTo>
                  <a:pt x="489204" y="0"/>
                </a:moveTo>
                <a:lnTo>
                  <a:pt x="0" y="0"/>
                </a:lnTo>
                <a:lnTo>
                  <a:pt x="0" y="246887"/>
                </a:lnTo>
                <a:lnTo>
                  <a:pt x="489204" y="246887"/>
                </a:lnTo>
                <a:lnTo>
                  <a:pt x="489204" y="0"/>
                </a:lnTo>
                <a:close/>
              </a:path>
            </a:pathLst>
          </a:custGeom>
          <a:solidFill>
            <a:srgbClr val="006F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 txBox="1"/>
          <p:nvPr/>
        </p:nvSpPr>
        <p:spPr>
          <a:xfrm>
            <a:off x="4514089" y="3085339"/>
            <a:ext cx="527685" cy="182101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95250">
              <a:spcBef>
                <a:spcPts val="580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uDeploy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80" name="object 80"/>
          <p:cNvSpPr txBox="1">
            <a:spLocks noGrp="1"/>
          </p:cNvSpPr>
          <p:nvPr>
            <p:ph type="sldNum" sz="quarter" idx="7"/>
          </p:nvPr>
        </p:nvSpPr>
        <p:spPr>
          <a:xfrm>
            <a:off x="431291" y="6499816"/>
            <a:ext cx="1385570" cy="1701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094D80"/>
                </a:solidFill>
                <a:latin typeface="Arial MT"/>
                <a:ea typeface="+mn-ea"/>
                <a:cs typeface="Arial M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45"/>
              </a:spcBef>
              <a:tabLst>
                <a:tab pos="287020" algn="l"/>
              </a:tabLst>
            </a:pPr>
            <a:fld id="{81D60167-4931-47E6-BA6A-407CBD079E47}" type="slidenum">
              <a:rPr lang="en-US" b="1" spc="-5" smtClean="0">
                <a:latin typeface="Arial"/>
                <a:cs typeface="Arial"/>
              </a:rPr>
              <a:pPr marL="38100">
                <a:spcBef>
                  <a:spcPts val="145"/>
                </a:spcBef>
                <a:tabLst>
                  <a:tab pos="287020" algn="l"/>
                </a:tabLst>
              </a:pPr>
              <a:t>5</a:t>
            </a:fld>
            <a:r>
              <a:rPr lang="en-US" b="1" spc="-5">
                <a:latin typeface="Arial"/>
                <a:cs typeface="Arial"/>
              </a:rPr>
              <a:t>	</a:t>
            </a:r>
            <a:r>
              <a:rPr lang="en-US" sz="1350" baseline="9259">
                <a:solidFill>
                  <a:srgbClr val="415363"/>
                </a:solidFill>
              </a:rPr>
              <a:t>|</a:t>
            </a:r>
            <a:r>
              <a:rPr lang="en-US" sz="1350" spc="172" baseline="9259">
                <a:solidFill>
                  <a:srgbClr val="415363"/>
                </a:solidFill>
              </a:rPr>
              <a:t> </a:t>
            </a:r>
            <a:r>
              <a:rPr lang="en-US" spc="-5"/>
              <a:t>DevOps Handbook</a:t>
            </a:r>
            <a:endParaRPr sz="900">
              <a:latin typeface="Arial"/>
              <a:cs typeface="Arial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5546597" y="2543555"/>
            <a:ext cx="490220" cy="176330"/>
          </a:xfrm>
          <a:prstGeom prst="rect">
            <a:avLst/>
          </a:prstGeom>
          <a:solidFill>
            <a:srgbClr val="5FAEAE"/>
          </a:solidFill>
        </p:spPr>
        <p:txBody>
          <a:bodyPr vert="horz" wrap="square" lIns="0" tIns="67945" rIns="0" bIns="0" rtlCol="0">
            <a:spAutoFit/>
          </a:bodyPr>
          <a:lstStyle/>
          <a:p>
            <a:pPr marL="85090">
              <a:spcBef>
                <a:spcPts val="53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uDeploy</a:t>
            </a:r>
            <a:endParaRPr sz="700">
              <a:latin typeface="Arial MT"/>
              <a:cs typeface="Arial MT"/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80387" y="332359"/>
            <a:ext cx="5020310" cy="751488"/>
          </a:xfrm>
          <a:prstGeom prst="rect">
            <a:avLst/>
          </a:prstGeom>
        </p:spPr>
        <p:txBody>
          <a:bodyPr vert="horz" wrap="square" lIns="0" tIns="1270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094D80"/>
                </a:solidFill>
              </a:rPr>
              <a:t>Future</a:t>
            </a:r>
            <a:r>
              <a:rPr spc="-20" dirty="0">
                <a:solidFill>
                  <a:srgbClr val="094D80"/>
                </a:solidFill>
              </a:rPr>
              <a:t> </a:t>
            </a:r>
            <a:r>
              <a:rPr spc="-5" dirty="0">
                <a:solidFill>
                  <a:srgbClr val="094D80"/>
                </a:solidFill>
              </a:rPr>
              <a:t>State</a:t>
            </a:r>
            <a:r>
              <a:rPr dirty="0">
                <a:solidFill>
                  <a:srgbClr val="094D80"/>
                </a:solidFill>
              </a:rPr>
              <a:t> –</a:t>
            </a:r>
            <a:r>
              <a:rPr spc="-5" dirty="0">
                <a:solidFill>
                  <a:srgbClr val="094D80"/>
                </a:solidFill>
              </a:rPr>
              <a:t> DevOps </a:t>
            </a:r>
            <a:r>
              <a:rPr dirty="0">
                <a:solidFill>
                  <a:srgbClr val="094D80"/>
                </a:solidFill>
              </a:rPr>
              <a:t>Pipeline</a:t>
            </a:r>
            <a:r>
              <a:rPr lang="en-US" dirty="0">
                <a:solidFill>
                  <a:srgbClr val="094D80"/>
                </a:solidFill>
              </a:rPr>
              <a:t> (Modularization Example)</a:t>
            </a:r>
            <a:endParaRPr dirty="0"/>
          </a:p>
        </p:txBody>
      </p:sp>
      <p:grpSp>
        <p:nvGrpSpPr>
          <p:cNvPr id="3" name="object 3"/>
          <p:cNvGrpSpPr/>
          <p:nvPr/>
        </p:nvGrpSpPr>
        <p:grpSpPr>
          <a:xfrm>
            <a:off x="7057580" y="1059117"/>
            <a:ext cx="1690370" cy="3903345"/>
            <a:chOff x="5533580" y="1059116"/>
            <a:chExt cx="1690370" cy="3903345"/>
          </a:xfrm>
        </p:grpSpPr>
        <p:sp>
          <p:nvSpPr>
            <p:cNvPr id="4" name="object 4"/>
            <p:cNvSpPr/>
            <p:nvPr/>
          </p:nvSpPr>
          <p:spPr>
            <a:xfrm>
              <a:off x="5546597" y="1072133"/>
              <a:ext cx="1664335" cy="3877310"/>
            </a:xfrm>
            <a:custGeom>
              <a:avLst/>
              <a:gdLst/>
              <a:ahLst/>
              <a:cxnLst/>
              <a:rect l="l" t="t" r="r" b="b"/>
              <a:pathLst>
                <a:path w="1664334" h="3877310">
                  <a:moveTo>
                    <a:pt x="1664207" y="0"/>
                  </a:moveTo>
                  <a:lnTo>
                    <a:pt x="0" y="0"/>
                  </a:lnTo>
                  <a:lnTo>
                    <a:pt x="0" y="3877055"/>
                  </a:lnTo>
                  <a:lnTo>
                    <a:pt x="1664207" y="3877055"/>
                  </a:lnTo>
                  <a:lnTo>
                    <a:pt x="1664207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5546597" y="1072133"/>
              <a:ext cx="1664335" cy="3877310"/>
            </a:xfrm>
            <a:custGeom>
              <a:avLst/>
              <a:gdLst/>
              <a:ahLst/>
              <a:cxnLst/>
              <a:rect l="l" t="t" r="r" b="b"/>
              <a:pathLst>
                <a:path w="1664334" h="3877310">
                  <a:moveTo>
                    <a:pt x="0" y="3877055"/>
                  </a:moveTo>
                  <a:lnTo>
                    <a:pt x="1664207" y="3877055"/>
                  </a:lnTo>
                  <a:lnTo>
                    <a:pt x="1664207" y="0"/>
                  </a:lnTo>
                  <a:lnTo>
                    <a:pt x="0" y="0"/>
                  </a:lnTo>
                  <a:lnTo>
                    <a:pt x="0" y="3877055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7443342" y="1101344"/>
            <a:ext cx="92075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u</a:t>
            </a:r>
            <a:r>
              <a:rPr sz="800" b="1" spc="-5" dirty="0">
                <a:solidFill>
                  <a:srgbClr val="415363"/>
                </a:solidFill>
                <a:latin typeface="Arial"/>
                <a:cs typeface="Arial"/>
              </a:rPr>
              <a:t>De</a:t>
            </a: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ploy</a:t>
            </a:r>
            <a:r>
              <a:rPr sz="800" b="1" spc="-10" dirty="0">
                <a:solidFill>
                  <a:srgbClr val="415363"/>
                </a:solidFill>
                <a:latin typeface="Arial"/>
                <a:cs typeface="Arial"/>
              </a:rPr>
              <a:t> </a:t>
            </a:r>
            <a:r>
              <a:rPr sz="800" b="1" spc="-5" dirty="0">
                <a:solidFill>
                  <a:srgbClr val="415363"/>
                </a:solidFill>
                <a:latin typeface="Arial"/>
                <a:cs typeface="Arial"/>
              </a:rPr>
              <a:t>[</a:t>
            </a: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Pl</a:t>
            </a:r>
            <a:r>
              <a:rPr sz="800" b="1" spc="-5" dirty="0">
                <a:solidFill>
                  <a:srgbClr val="415363"/>
                </a:solidFill>
                <a:latin typeface="Arial"/>
                <a:cs typeface="Arial"/>
              </a:rPr>
              <a:t>a</a:t>
            </a: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nned]</a:t>
            </a:r>
            <a:endParaRPr sz="800">
              <a:latin typeface="Arial"/>
              <a:cs typeface="Arial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1968945" y="1059117"/>
            <a:ext cx="5106035" cy="3903345"/>
            <a:chOff x="444944" y="1059116"/>
            <a:chExt cx="5106035" cy="3903345"/>
          </a:xfrm>
        </p:grpSpPr>
        <p:sp>
          <p:nvSpPr>
            <p:cNvPr id="8" name="object 8"/>
            <p:cNvSpPr/>
            <p:nvPr/>
          </p:nvSpPr>
          <p:spPr>
            <a:xfrm>
              <a:off x="457961" y="1072133"/>
              <a:ext cx="5080000" cy="3877310"/>
            </a:xfrm>
            <a:custGeom>
              <a:avLst/>
              <a:gdLst/>
              <a:ahLst/>
              <a:cxnLst/>
              <a:rect l="l" t="t" r="r" b="b"/>
              <a:pathLst>
                <a:path w="5080000" h="3877310">
                  <a:moveTo>
                    <a:pt x="5079492" y="0"/>
                  </a:moveTo>
                  <a:lnTo>
                    <a:pt x="0" y="0"/>
                  </a:lnTo>
                  <a:lnTo>
                    <a:pt x="0" y="3877055"/>
                  </a:lnTo>
                  <a:lnTo>
                    <a:pt x="5079492" y="3877055"/>
                  </a:lnTo>
                  <a:lnTo>
                    <a:pt x="5079492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57961" y="1072133"/>
              <a:ext cx="5080000" cy="3877310"/>
            </a:xfrm>
            <a:custGeom>
              <a:avLst/>
              <a:gdLst/>
              <a:ahLst/>
              <a:cxnLst/>
              <a:rect l="l" t="t" r="r" b="b"/>
              <a:pathLst>
                <a:path w="5080000" h="3877310">
                  <a:moveTo>
                    <a:pt x="0" y="3877055"/>
                  </a:moveTo>
                  <a:lnTo>
                    <a:pt x="5079492" y="3877055"/>
                  </a:lnTo>
                  <a:lnTo>
                    <a:pt x="5079492" y="0"/>
                  </a:lnTo>
                  <a:lnTo>
                    <a:pt x="0" y="0"/>
                  </a:lnTo>
                  <a:lnTo>
                    <a:pt x="0" y="3877055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3785742" y="1101344"/>
            <a:ext cx="147193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Bamboo</a:t>
            </a:r>
            <a:r>
              <a:rPr sz="800" b="1" spc="-35" dirty="0">
                <a:solidFill>
                  <a:srgbClr val="415363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+</a:t>
            </a:r>
            <a:r>
              <a:rPr sz="800" b="1" spc="-10" dirty="0">
                <a:solidFill>
                  <a:srgbClr val="415363"/>
                </a:solidFill>
                <a:latin typeface="Arial"/>
                <a:cs typeface="Arial"/>
              </a:rPr>
              <a:t> </a:t>
            </a: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uDeploy</a:t>
            </a:r>
            <a:r>
              <a:rPr sz="800" b="1" spc="-25" dirty="0">
                <a:solidFill>
                  <a:srgbClr val="415363"/>
                </a:solidFill>
                <a:latin typeface="Arial"/>
                <a:cs typeface="Arial"/>
              </a:rPr>
              <a:t> </a:t>
            </a:r>
            <a:r>
              <a:rPr sz="800" b="1" spc="-5" dirty="0">
                <a:solidFill>
                  <a:srgbClr val="415363"/>
                </a:solidFill>
                <a:latin typeface="Arial"/>
                <a:cs typeface="Arial"/>
              </a:rPr>
              <a:t>[Check </a:t>
            </a:r>
            <a:r>
              <a:rPr sz="800" b="1" dirty="0">
                <a:solidFill>
                  <a:srgbClr val="415363"/>
                </a:solidFill>
                <a:latin typeface="Arial"/>
                <a:cs typeface="Arial"/>
              </a:rPr>
              <a:t>in]</a:t>
            </a:r>
            <a:endParaRPr sz="800">
              <a:latin typeface="Arial"/>
              <a:cs typeface="Arial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1927860" y="1714500"/>
            <a:ext cx="6806565" cy="4457700"/>
            <a:chOff x="403859" y="1650492"/>
            <a:chExt cx="6806565" cy="4457700"/>
          </a:xfrm>
        </p:grpSpPr>
        <p:pic>
          <p:nvPicPr>
            <p:cNvPr id="12" name="object 1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03859" y="1650492"/>
              <a:ext cx="6806183" cy="4457700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4230624" y="4661916"/>
              <a:ext cx="772795" cy="437515"/>
            </a:xfrm>
            <a:custGeom>
              <a:avLst/>
              <a:gdLst/>
              <a:ahLst/>
              <a:cxnLst/>
              <a:rect l="l" t="t" r="r" b="b"/>
              <a:pathLst>
                <a:path w="772795" h="437514">
                  <a:moveTo>
                    <a:pt x="772668" y="0"/>
                  </a:moveTo>
                  <a:lnTo>
                    <a:pt x="0" y="0"/>
                  </a:lnTo>
                  <a:lnTo>
                    <a:pt x="0" y="437387"/>
                  </a:lnTo>
                  <a:lnTo>
                    <a:pt x="772668" y="437387"/>
                  </a:lnTo>
                  <a:lnTo>
                    <a:pt x="772668" y="0"/>
                  </a:lnTo>
                  <a:close/>
                </a:path>
              </a:pathLst>
            </a:custGeom>
            <a:solidFill>
              <a:srgbClr val="34343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5906516" y="4744340"/>
            <a:ext cx="469265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1594" marR="5080" indent="-49530">
              <a:spcBef>
                <a:spcPts val="100"/>
              </a:spcBef>
            </a:pPr>
            <a:r>
              <a:rPr sz="800" dirty="0">
                <a:solidFill>
                  <a:srgbClr val="D0D0D0"/>
                </a:solidFill>
                <a:latin typeface="Arial MT"/>
                <a:cs typeface="Arial MT"/>
              </a:rPr>
              <a:t>TESTI</a:t>
            </a:r>
            <a:r>
              <a:rPr sz="800" spc="-5" dirty="0">
                <a:solidFill>
                  <a:srgbClr val="D0D0D0"/>
                </a:solidFill>
                <a:latin typeface="Arial MT"/>
                <a:cs typeface="Arial MT"/>
              </a:rPr>
              <a:t>N</a:t>
            </a:r>
            <a:r>
              <a:rPr sz="800" dirty="0">
                <a:solidFill>
                  <a:srgbClr val="D0D0D0"/>
                </a:solidFill>
                <a:latin typeface="Arial MT"/>
                <a:cs typeface="Arial MT"/>
              </a:rPr>
              <a:t>G  TOOLS</a:t>
            </a:r>
            <a:endParaRPr sz="800">
              <a:latin typeface="Arial MT"/>
              <a:cs typeface="Arial MT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557771" y="2004061"/>
            <a:ext cx="489584" cy="247015"/>
          </a:xfrm>
          <a:custGeom>
            <a:avLst/>
            <a:gdLst/>
            <a:ahLst/>
            <a:cxnLst/>
            <a:rect l="l" t="t" r="r" b="b"/>
            <a:pathLst>
              <a:path w="489585" h="247014">
                <a:moveTo>
                  <a:pt x="489203" y="0"/>
                </a:moveTo>
                <a:lnTo>
                  <a:pt x="0" y="0"/>
                </a:lnTo>
                <a:lnTo>
                  <a:pt x="0" y="246887"/>
                </a:lnTo>
                <a:lnTo>
                  <a:pt x="489203" y="246887"/>
                </a:lnTo>
                <a:lnTo>
                  <a:pt x="489203" y="0"/>
                </a:lnTo>
                <a:close/>
              </a:path>
            </a:pathLst>
          </a:custGeom>
          <a:solidFill>
            <a:srgbClr val="006F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015997" y="3090671"/>
            <a:ext cx="1998345" cy="1051560"/>
          </a:xfrm>
          <a:custGeom>
            <a:avLst/>
            <a:gdLst/>
            <a:ahLst/>
            <a:cxnLst/>
            <a:rect l="l" t="t" r="r" b="b"/>
            <a:pathLst>
              <a:path w="1998345" h="1051560">
                <a:moveTo>
                  <a:pt x="490728" y="804672"/>
                </a:moveTo>
                <a:lnTo>
                  <a:pt x="0" y="804672"/>
                </a:lnTo>
                <a:lnTo>
                  <a:pt x="0" y="1051560"/>
                </a:lnTo>
                <a:lnTo>
                  <a:pt x="490728" y="1051560"/>
                </a:lnTo>
                <a:lnTo>
                  <a:pt x="490728" y="804672"/>
                </a:lnTo>
                <a:close/>
              </a:path>
              <a:path w="1998345" h="1051560">
                <a:moveTo>
                  <a:pt x="993648" y="537972"/>
                </a:moveTo>
                <a:lnTo>
                  <a:pt x="502920" y="537972"/>
                </a:lnTo>
                <a:lnTo>
                  <a:pt x="502920" y="784860"/>
                </a:lnTo>
                <a:lnTo>
                  <a:pt x="993648" y="784860"/>
                </a:lnTo>
                <a:lnTo>
                  <a:pt x="993648" y="537972"/>
                </a:lnTo>
                <a:close/>
              </a:path>
              <a:path w="1998345" h="1051560">
                <a:moveTo>
                  <a:pt x="993648" y="271272"/>
                </a:moveTo>
                <a:lnTo>
                  <a:pt x="502920" y="271272"/>
                </a:lnTo>
                <a:lnTo>
                  <a:pt x="502920" y="518160"/>
                </a:lnTo>
                <a:lnTo>
                  <a:pt x="993648" y="518160"/>
                </a:lnTo>
                <a:lnTo>
                  <a:pt x="993648" y="271272"/>
                </a:lnTo>
                <a:close/>
              </a:path>
              <a:path w="1998345" h="1051560">
                <a:moveTo>
                  <a:pt x="993648" y="10668"/>
                </a:moveTo>
                <a:lnTo>
                  <a:pt x="502920" y="10668"/>
                </a:lnTo>
                <a:lnTo>
                  <a:pt x="502920" y="256032"/>
                </a:lnTo>
                <a:lnTo>
                  <a:pt x="993648" y="256032"/>
                </a:lnTo>
                <a:lnTo>
                  <a:pt x="993648" y="10668"/>
                </a:lnTo>
                <a:close/>
              </a:path>
              <a:path w="1998345" h="1051560">
                <a:moveTo>
                  <a:pt x="1498092" y="271272"/>
                </a:moveTo>
                <a:lnTo>
                  <a:pt x="1008888" y="271272"/>
                </a:lnTo>
                <a:lnTo>
                  <a:pt x="1008888" y="518160"/>
                </a:lnTo>
                <a:lnTo>
                  <a:pt x="1498092" y="518160"/>
                </a:lnTo>
                <a:lnTo>
                  <a:pt x="1498092" y="271272"/>
                </a:lnTo>
                <a:close/>
              </a:path>
              <a:path w="1998345" h="1051560">
                <a:moveTo>
                  <a:pt x="1997964" y="0"/>
                </a:moveTo>
                <a:lnTo>
                  <a:pt x="1508760" y="0"/>
                </a:lnTo>
                <a:lnTo>
                  <a:pt x="1508760" y="246888"/>
                </a:lnTo>
                <a:lnTo>
                  <a:pt x="1997964" y="246888"/>
                </a:lnTo>
                <a:lnTo>
                  <a:pt x="1997964" y="0"/>
                </a:lnTo>
                <a:close/>
              </a:path>
            </a:pathLst>
          </a:custGeom>
          <a:solidFill>
            <a:srgbClr val="006F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6576822" y="2059940"/>
            <a:ext cx="452755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A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u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t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o</a:t>
            </a:r>
            <a:r>
              <a:rPr sz="700" dirty="0">
                <a:solidFill>
                  <a:srgbClr val="FFFFFF"/>
                </a:solidFill>
                <a:latin typeface="Arial MT"/>
                <a:cs typeface="Arial MT"/>
              </a:rPr>
              <a:t>m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a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t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e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d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7069836" y="1738884"/>
            <a:ext cx="490855" cy="247015"/>
          </a:xfrm>
          <a:custGeom>
            <a:avLst/>
            <a:gdLst/>
            <a:ahLst/>
            <a:cxnLst/>
            <a:rect l="l" t="t" r="r" b="b"/>
            <a:pathLst>
              <a:path w="490854" h="247014">
                <a:moveTo>
                  <a:pt x="490727" y="0"/>
                </a:moveTo>
                <a:lnTo>
                  <a:pt x="0" y="0"/>
                </a:lnTo>
                <a:lnTo>
                  <a:pt x="0" y="246887"/>
                </a:lnTo>
                <a:lnTo>
                  <a:pt x="490727" y="246887"/>
                </a:lnTo>
                <a:lnTo>
                  <a:pt x="490727" y="0"/>
                </a:lnTo>
                <a:close/>
              </a:path>
            </a:pathLst>
          </a:custGeom>
          <a:solidFill>
            <a:srgbClr val="00999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7159879" y="1794764"/>
            <a:ext cx="311785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700" spc="-25" dirty="0">
                <a:solidFill>
                  <a:srgbClr val="FFFFFF"/>
                </a:solidFill>
                <a:latin typeface="Arial MT"/>
                <a:cs typeface="Arial MT"/>
              </a:rPr>
              <a:t>M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anua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l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6050280" y="2273808"/>
            <a:ext cx="490855" cy="245745"/>
          </a:xfrm>
          <a:custGeom>
            <a:avLst/>
            <a:gdLst/>
            <a:ahLst/>
            <a:cxnLst/>
            <a:rect l="l" t="t" r="r" b="b"/>
            <a:pathLst>
              <a:path w="490854" h="245744">
                <a:moveTo>
                  <a:pt x="490727" y="0"/>
                </a:moveTo>
                <a:lnTo>
                  <a:pt x="0" y="0"/>
                </a:lnTo>
                <a:lnTo>
                  <a:pt x="0" y="245363"/>
                </a:lnTo>
                <a:lnTo>
                  <a:pt x="490727" y="245363"/>
                </a:lnTo>
                <a:lnTo>
                  <a:pt x="490727" y="0"/>
                </a:lnTo>
                <a:close/>
              </a:path>
            </a:pathLst>
          </a:custGeom>
          <a:solidFill>
            <a:srgbClr val="006F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6123178" y="2329688"/>
            <a:ext cx="34925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u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De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p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loy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7583424" y="1469137"/>
            <a:ext cx="490855" cy="247015"/>
          </a:xfrm>
          <a:custGeom>
            <a:avLst/>
            <a:gdLst/>
            <a:ahLst/>
            <a:cxnLst/>
            <a:rect l="l" t="t" r="r" b="b"/>
            <a:pathLst>
              <a:path w="490854" h="247014">
                <a:moveTo>
                  <a:pt x="490727" y="0"/>
                </a:moveTo>
                <a:lnTo>
                  <a:pt x="0" y="0"/>
                </a:lnTo>
                <a:lnTo>
                  <a:pt x="0" y="246887"/>
                </a:lnTo>
                <a:lnTo>
                  <a:pt x="490727" y="246887"/>
                </a:lnTo>
                <a:lnTo>
                  <a:pt x="490727" y="0"/>
                </a:lnTo>
                <a:close/>
              </a:path>
            </a:pathLst>
          </a:custGeom>
          <a:solidFill>
            <a:srgbClr val="00999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7602983" y="1525270"/>
            <a:ext cx="452755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A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u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t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o</a:t>
            </a:r>
            <a:r>
              <a:rPr sz="700" dirty="0">
                <a:solidFill>
                  <a:srgbClr val="FFFFFF"/>
                </a:solidFill>
                <a:latin typeface="Arial MT"/>
                <a:cs typeface="Arial MT"/>
              </a:rPr>
              <a:t>m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a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t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e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d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5041391" y="2811780"/>
            <a:ext cx="489584" cy="247015"/>
          </a:xfrm>
          <a:custGeom>
            <a:avLst/>
            <a:gdLst/>
            <a:ahLst/>
            <a:cxnLst/>
            <a:rect l="l" t="t" r="r" b="b"/>
            <a:pathLst>
              <a:path w="489585" h="247014">
                <a:moveTo>
                  <a:pt x="489203" y="0"/>
                </a:moveTo>
                <a:lnTo>
                  <a:pt x="0" y="0"/>
                </a:lnTo>
                <a:lnTo>
                  <a:pt x="0" y="246887"/>
                </a:lnTo>
                <a:lnTo>
                  <a:pt x="489203" y="246887"/>
                </a:lnTo>
                <a:lnTo>
                  <a:pt x="489203" y="0"/>
                </a:lnTo>
                <a:close/>
              </a:path>
            </a:pathLst>
          </a:custGeom>
          <a:solidFill>
            <a:srgbClr val="006F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5180203" y="2868930"/>
            <a:ext cx="211454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J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un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it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2497837" y="4163568"/>
            <a:ext cx="490855" cy="247015"/>
          </a:xfrm>
          <a:custGeom>
            <a:avLst/>
            <a:gdLst/>
            <a:ahLst/>
            <a:cxnLst/>
            <a:rect l="l" t="t" r="r" b="b"/>
            <a:pathLst>
              <a:path w="490855" h="247014">
                <a:moveTo>
                  <a:pt x="490728" y="0"/>
                </a:moveTo>
                <a:lnTo>
                  <a:pt x="0" y="0"/>
                </a:lnTo>
                <a:lnTo>
                  <a:pt x="0" y="246887"/>
                </a:lnTo>
                <a:lnTo>
                  <a:pt x="490728" y="246887"/>
                </a:lnTo>
                <a:lnTo>
                  <a:pt x="490728" y="0"/>
                </a:lnTo>
                <a:close/>
              </a:path>
            </a:pathLst>
          </a:custGeom>
          <a:solidFill>
            <a:srgbClr val="006F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2599436" y="4220718"/>
            <a:ext cx="28829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700" spc="-25" dirty="0">
                <a:solidFill>
                  <a:srgbClr val="FFFFFF"/>
                </a:solidFill>
                <a:latin typeface="Arial MT"/>
                <a:cs typeface="Arial MT"/>
              </a:rPr>
              <a:t>M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a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v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e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n</a:t>
            </a:r>
            <a:endParaRPr sz="700">
              <a:latin typeface="Arial MT"/>
              <a:cs typeface="Arial MT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9067737" y="1176465"/>
            <a:ext cx="1146175" cy="285115"/>
            <a:chOff x="7543736" y="1176464"/>
            <a:chExt cx="1146175" cy="285115"/>
          </a:xfrm>
        </p:grpSpPr>
        <p:sp>
          <p:nvSpPr>
            <p:cNvPr id="29" name="object 29"/>
            <p:cNvSpPr/>
            <p:nvPr/>
          </p:nvSpPr>
          <p:spPr>
            <a:xfrm>
              <a:off x="7556753" y="1189482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80">
                  <a:moveTo>
                    <a:pt x="1120140" y="0"/>
                  </a:moveTo>
                  <a:lnTo>
                    <a:pt x="0" y="0"/>
                  </a:lnTo>
                  <a:lnTo>
                    <a:pt x="0" y="259079"/>
                  </a:lnTo>
                  <a:lnTo>
                    <a:pt x="1120140" y="259079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E25E6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7556753" y="1189482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80">
                  <a:moveTo>
                    <a:pt x="0" y="259079"/>
                  </a:moveTo>
                  <a:lnTo>
                    <a:pt x="1120140" y="259079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9079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9080754" y="1242187"/>
            <a:ext cx="11201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37490">
              <a:spcBef>
                <a:spcPts val="105"/>
              </a:spcBef>
            </a:pP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Not</a:t>
            </a:r>
            <a:r>
              <a:rPr sz="800" spc="-2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Integrated</a:t>
            </a:r>
            <a:endParaRPr sz="800">
              <a:latin typeface="Arial MT"/>
              <a:cs typeface="Arial MT"/>
            </a:endParaRPr>
          </a:p>
        </p:txBody>
      </p:sp>
      <p:grpSp>
        <p:nvGrpSpPr>
          <p:cNvPr id="32" name="object 32"/>
          <p:cNvGrpSpPr/>
          <p:nvPr/>
        </p:nvGrpSpPr>
        <p:grpSpPr>
          <a:xfrm>
            <a:off x="9067737" y="1443165"/>
            <a:ext cx="1146175" cy="283845"/>
            <a:chOff x="7543736" y="1443164"/>
            <a:chExt cx="1146175" cy="283845"/>
          </a:xfrm>
        </p:grpSpPr>
        <p:sp>
          <p:nvSpPr>
            <p:cNvPr id="33" name="object 33"/>
            <p:cNvSpPr/>
            <p:nvPr/>
          </p:nvSpPr>
          <p:spPr>
            <a:xfrm>
              <a:off x="7556753" y="1456182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120140" y="257556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999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7556753" y="1456182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6"/>
                  </a:moveTo>
                  <a:lnTo>
                    <a:pt x="1120140" y="257556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5" name="object 35"/>
          <p:cNvSpPr txBox="1"/>
          <p:nvPr/>
        </p:nvSpPr>
        <p:spPr>
          <a:xfrm>
            <a:off x="9080754" y="1508251"/>
            <a:ext cx="11201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5420">
              <a:spcBef>
                <a:spcPts val="105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Partly</a:t>
            </a:r>
            <a:r>
              <a:rPr sz="800" spc="-3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Integrated</a:t>
            </a:r>
            <a:endParaRPr sz="800">
              <a:latin typeface="Arial MT"/>
              <a:cs typeface="Arial MT"/>
            </a:endParaRPr>
          </a:p>
        </p:txBody>
      </p:sp>
      <p:grpSp>
        <p:nvGrpSpPr>
          <p:cNvPr id="36" name="object 36"/>
          <p:cNvGrpSpPr/>
          <p:nvPr/>
        </p:nvGrpSpPr>
        <p:grpSpPr>
          <a:xfrm>
            <a:off x="9067801" y="1709928"/>
            <a:ext cx="1146175" cy="283845"/>
            <a:chOff x="7543800" y="1709927"/>
            <a:chExt cx="1146175" cy="283845"/>
          </a:xfrm>
        </p:grpSpPr>
        <p:sp>
          <p:nvSpPr>
            <p:cNvPr id="37" name="object 37"/>
            <p:cNvSpPr/>
            <p:nvPr/>
          </p:nvSpPr>
          <p:spPr>
            <a:xfrm>
              <a:off x="7556753" y="1722881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120140" y="257556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6F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7556753" y="1722881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6"/>
                  </a:moveTo>
                  <a:lnTo>
                    <a:pt x="1120140" y="257556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9080754" y="1774698"/>
            <a:ext cx="11201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10185">
              <a:spcBef>
                <a:spcPts val="105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Fully</a:t>
            </a:r>
            <a:r>
              <a:rPr sz="800" spc="-4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Integrated</a:t>
            </a:r>
            <a:endParaRPr sz="800">
              <a:latin typeface="Arial MT"/>
              <a:cs typeface="Arial MT"/>
            </a:endParaRPr>
          </a:p>
        </p:txBody>
      </p:sp>
      <p:grpSp>
        <p:nvGrpSpPr>
          <p:cNvPr id="40" name="object 40"/>
          <p:cNvGrpSpPr/>
          <p:nvPr/>
        </p:nvGrpSpPr>
        <p:grpSpPr>
          <a:xfrm>
            <a:off x="9067737" y="4329621"/>
            <a:ext cx="1146175" cy="285115"/>
            <a:chOff x="7543736" y="4329620"/>
            <a:chExt cx="1146175" cy="285115"/>
          </a:xfrm>
        </p:grpSpPr>
        <p:sp>
          <p:nvSpPr>
            <p:cNvPr id="41" name="object 41"/>
            <p:cNvSpPr/>
            <p:nvPr/>
          </p:nvSpPr>
          <p:spPr>
            <a:xfrm>
              <a:off x="7556753" y="4342638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79">
                  <a:moveTo>
                    <a:pt x="1120140" y="0"/>
                  </a:moveTo>
                  <a:lnTo>
                    <a:pt x="0" y="0"/>
                  </a:lnTo>
                  <a:lnTo>
                    <a:pt x="0" y="259080"/>
                  </a:lnTo>
                  <a:lnTo>
                    <a:pt x="1120140" y="259080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9278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7556753" y="4342638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79">
                  <a:moveTo>
                    <a:pt x="0" y="259080"/>
                  </a:moveTo>
                  <a:lnTo>
                    <a:pt x="1120140" y="259080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9080"/>
                  </a:lnTo>
                  <a:close/>
                </a:path>
              </a:pathLst>
            </a:custGeom>
            <a:ln w="2590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3" name="object 43"/>
          <p:cNvSpPr txBox="1"/>
          <p:nvPr/>
        </p:nvSpPr>
        <p:spPr>
          <a:xfrm>
            <a:off x="9080754" y="4395597"/>
            <a:ext cx="112014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4460">
              <a:spcBef>
                <a:spcPts val="100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End</a:t>
            </a:r>
            <a:r>
              <a:rPr sz="800" spc="-1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to</a:t>
            </a:r>
            <a:r>
              <a:rPr sz="800" spc="-2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End</a:t>
            </a:r>
            <a:r>
              <a:rPr sz="800" spc="-2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Testing</a:t>
            </a:r>
            <a:endParaRPr sz="800">
              <a:latin typeface="Arial MT"/>
              <a:cs typeface="Arial MT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9484869" y="4149345"/>
            <a:ext cx="281305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b="1" spc="-5" dirty="0">
                <a:solidFill>
                  <a:srgbClr val="415363"/>
                </a:solidFill>
                <a:latin typeface="Arial"/>
                <a:cs typeface="Arial"/>
              </a:rPr>
              <a:t>U</a:t>
            </a:r>
            <a:r>
              <a:rPr sz="1000" b="1" spc="-40" dirty="0">
                <a:solidFill>
                  <a:srgbClr val="415363"/>
                </a:solidFill>
                <a:latin typeface="Arial"/>
                <a:cs typeface="Arial"/>
              </a:rPr>
              <a:t>A</a:t>
            </a:r>
            <a:r>
              <a:rPr sz="1000" b="1" spc="-5" dirty="0">
                <a:solidFill>
                  <a:srgbClr val="415363"/>
                </a:solidFill>
                <a:latin typeface="Arial"/>
                <a:cs typeface="Arial"/>
              </a:rPr>
              <a:t>T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45" name="object 45"/>
          <p:cNvGrpSpPr/>
          <p:nvPr/>
        </p:nvGrpSpPr>
        <p:grpSpPr>
          <a:xfrm>
            <a:off x="9067737" y="4596321"/>
            <a:ext cx="1146175" cy="283845"/>
            <a:chOff x="7543736" y="4596320"/>
            <a:chExt cx="1146175" cy="283845"/>
          </a:xfrm>
        </p:grpSpPr>
        <p:sp>
          <p:nvSpPr>
            <p:cNvPr id="46" name="object 46"/>
            <p:cNvSpPr/>
            <p:nvPr/>
          </p:nvSpPr>
          <p:spPr>
            <a:xfrm>
              <a:off x="7556753" y="4609338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120140" y="257556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9278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7556753" y="4609338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6"/>
                  </a:moveTo>
                  <a:lnTo>
                    <a:pt x="1120140" y="257556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object 48"/>
          <p:cNvSpPr txBox="1"/>
          <p:nvPr/>
        </p:nvSpPr>
        <p:spPr>
          <a:xfrm>
            <a:off x="9080754" y="4662043"/>
            <a:ext cx="112014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85725">
              <a:spcBef>
                <a:spcPts val="100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Performance</a:t>
            </a:r>
            <a:r>
              <a:rPr sz="800" spc="-5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Testing</a:t>
            </a:r>
            <a:endParaRPr sz="800">
              <a:latin typeface="Arial MT"/>
              <a:cs typeface="Arial MT"/>
            </a:endParaRPr>
          </a:p>
        </p:txBody>
      </p:sp>
      <p:grpSp>
        <p:nvGrpSpPr>
          <p:cNvPr id="49" name="object 49"/>
          <p:cNvGrpSpPr/>
          <p:nvPr/>
        </p:nvGrpSpPr>
        <p:grpSpPr>
          <a:xfrm>
            <a:off x="9067801" y="4863085"/>
            <a:ext cx="1146175" cy="283845"/>
            <a:chOff x="7543800" y="4863084"/>
            <a:chExt cx="1146175" cy="283845"/>
          </a:xfrm>
        </p:grpSpPr>
        <p:sp>
          <p:nvSpPr>
            <p:cNvPr id="50" name="object 50"/>
            <p:cNvSpPr/>
            <p:nvPr/>
          </p:nvSpPr>
          <p:spPr>
            <a:xfrm>
              <a:off x="7556753" y="4876038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120140" y="257556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9278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7556753" y="4876038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6"/>
                  </a:moveTo>
                  <a:lnTo>
                    <a:pt x="1120140" y="257556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2" name="object 52"/>
          <p:cNvSpPr txBox="1"/>
          <p:nvPr/>
        </p:nvSpPr>
        <p:spPr>
          <a:xfrm>
            <a:off x="9080754" y="4928743"/>
            <a:ext cx="112014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4945">
              <a:spcBef>
                <a:spcPts val="100"/>
              </a:spcBef>
            </a:pP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Security</a:t>
            </a:r>
            <a:r>
              <a:rPr sz="800" spc="-40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Testing</a:t>
            </a:r>
            <a:endParaRPr sz="800">
              <a:latin typeface="Arial MT"/>
              <a:cs typeface="Arial MT"/>
            </a:endParaRPr>
          </a:p>
        </p:txBody>
      </p:sp>
      <p:grpSp>
        <p:nvGrpSpPr>
          <p:cNvPr id="53" name="object 53"/>
          <p:cNvGrpSpPr/>
          <p:nvPr/>
        </p:nvGrpSpPr>
        <p:grpSpPr>
          <a:xfrm>
            <a:off x="9067737" y="2673033"/>
            <a:ext cx="1146175" cy="285115"/>
            <a:chOff x="7543736" y="2673032"/>
            <a:chExt cx="1146175" cy="285115"/>
          </a:xfrm>
        </p:grpSpPr>
        <p:sp>
          <p:nvSpPr>
            <p:cNvPr id="54" name="object 54"/>
            <p:cNvSpPr/>
            <p:nvPr/>
          </p:nvSpPr>
          <p:spPr>
            <a:xfrm>
              <a:off x="7556753" y="2686050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80">
                  <a:moveTo>
                    <a:pt x="1120140" y="0"/>
                  </a:moveTo>
                  <a:lnTo>
                    <a:pt x="0" y="0"/>
                  </a:lnTo>
                  <a:lnTo>
                    <a:pt x="0" y="259079"/>
                  </a:lnTo>
                  <a:lnTo>
                    <a:pt x="1120140" y="259079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6F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7556753" y="2686050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80">
                  <a:moveTo>
                    <a:pt x="0" y="259079"/>
                  </a:moveTo>
                  <a:lnTo>
                    <a:pt x="1120140" y="259079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9079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6" name="object 56"/>
          <p:cNvSpPr txBox="1"/>
          <p:nvPr/>
        </p:nvSpPr>
        <p:spPr>
          <a:xfrm>
            <a:off x="9080754" y="2738755"/>
            <a:ext cx="11201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635" algn="ctr">
              <a:spcBef>
                <a:spcPts val="105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HPOV</a:t>
            </a:r>
            <a:endParaRPr sz="800">
              <a:latin typeface="Arial MT"/>
              <a:cs typeface="Arial MT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9283446" y="2340101"/>
            <a:ext cx="682625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72720" marR="5080" indent="-160020">
              <a:spcBef>
                <a:spcPts val="95"/>
              </a:spcBef>
            </a:pPr>
            <a:r>
              <a:rPr sz="1000" b="1" spc="15" dirty="0">
                <a:solidFill>
                  <a:srgbClr val="415363"/>
                </a:solidFill>
                <a:latin typeface="Arial"/>
                <a:cs typeface="Arial"/>
              </a:rPr>
              <a:t>M</a:t>
            </a:r>
            <a:r>
              <a:rPr sz="1000" b="1" spc="-5" dirty="0">
                <a:solidFill>
                  <a:srgbClr val="415363"/>
                </a:solidFill>
                <a:latin typeface="Arial"/>
                <a:cs typeface="Arial"/>
              </a:rPr>
              <a:t>onito</a:t>
            </a:r>
            <a:r>
              <a:rPr sz="1000" b="1" spc="-10" dirty="0">
                <a:solidFill>
                  <a:srgbClr val="415363"/>
                </a:solidFill>
                <a:latin typeface="Arial"/>
                <a:cs typeface="Arial"/>
              </a:rPr>
              <a:t>r</a:t>
            </a:r>
            <a:r>
              <a:rPr sz="1000" b="1" spc="-5" dirty="0">
                <a:solidFill>
                  <a:srgbClr val="415363"/>
                </a:solidFill>
                <a:latin typeface="Arial"/>
                <a:cs typeface="Arial"/>
              </a:rPr>
              <a:t>ing  </a:t>
            </a:r>
            <a:r>
              <a:rPr sz="1000" b="1" dirty="0">
                <a:solidFill>
                  <a:srgbClr val="415363"/>
                </a:solidFill>
                <a:latin typeface="Arial"/>
                <a:cs typeface="Arial"/>
              </a:rPr>
              <a:t>Tools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58" name="object 58"/>
          <p:cNvGrpSpPr/>
          <p:nvPr/>
        </p:nvGrpSpPr>
        <p:grpSpPr>
          <a:xfrm>
            <a:off x="9067801" y="2939795"/>
            <a:ext cx="1146175" cy="815340"/>
            <a:chOff x="7543800" y="2939795"/>
            <a:chExt cx="1146175" cy="815340"/>
          </a:xfrm>
        </p:grpSpPr>
        <p:sp>
          <p:nvSpPr>
            <p:cNvPr id="59" name="object 59"/>
            <p:cNvSpPr/>
            <p:nvPr/>
          </p:nvSpPr>
          <p:spPr>
            <a:xfrm>
              <a:off x="7556753" y="2952749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5"/>
                  </a:lnTo>
                  <a:lnTo>
                    <a:pt x="1120140" y="257555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6F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7556753" y="2952749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5"/>
                  </a:moveTo>
                  <a:lnTo>
                    <a:pt x="1120140" y="257555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5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7556753" y="3217925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79">
                  <a:moveTo>
                    <a:pt x="1120140" y="0"/>
                  </a:moveTo>
                  <a:lnTo>
                    <a:pt x="0" y="0"/>
                  </a:lnTo>
                  <a:lnTo>
                    <a:pt x="0" y="259079"/>
                  </a:lnTo>
                  <a:lnTo>
                    <a:pt x="1120140" y="259079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6F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7556753" y="3217925"/>
              <a:ext cx="1120140" cy="259079"/>
            </a:xfrm>
            <a:custGeom>
              <a:avLst/>
              <a:gdLst/>
              <a:ahLst/>
              <a:cxnLst/>
              <a:rect l="l" t="t" r="r" b="b"/>
              <a:pathLst>
                <a:path w="1120140" h="259079">
                  <a:moveTo>
                    <a:pt x="0" y="259079"/>
                  </a:moveTo>
                  <a:lnTo>
                    <a:pt x="1120140" y="259079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9079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7556753" y="3484625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1120140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120140" y="257556"/>
                  </a:lnTo>
                  <a:lnTo>
                    <a:pt x="1120140" y="0"/>
                  </a:lnTo>
                  <a:close/>
                </a:path>
              </a:pathLst>
            </a:custGeom>
            <a:solidFill>
              <a:srgbClr val="006F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7556753" y="3484625"/>
              <a:ext cx="1120140" cy="257810"/>
            </a:xfrm>
            <a:custGeom>
              <a:avLst/>
              <a:gdLst/>
              <a:ahLst/>
              <a:cxnLst/>
              <a:rect l="l" t="t" r="r" b="b"/>
              <a:pathLst>
                <a:path w="1120140" h="257810">
                  <a:moveTo>
                    <a:pt x="0" y="257556"/>
                  </a:moveTo>
                  <a:lnTo>
                    <a:pt x="1120140" y="257556"/>
                  </a:lnTo>
                  <a:lnTo>
                    <a:pt x="1120140" y="0"/>
                  </a:lnTo>
                  <a:lnTo>
                    <a:pt x="0" y="0"/>
                  </a:lnTo>
                  <a:lnTo>
                    <a:pt x="0" y="257556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5" name="object 65"/>
          <p:cNvSpPr txBox="1"/>
          <p:nvPr/>
        </p:nvSpPr>
        <p:spPr>
          <a:xfrm>
            <a:off x="9080754" y="3004566"/>
            <a:ext cx="1120140" cy="62966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spcBef>
                <a:spcPts val="105"/>
              </a:spcBef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QPASA</a:t>
            </a:r>
            <a:endParaRPr sz="800">
              <a:latin typeface="Arial MT"/>
              <a:cs typeface="Arial MT"/>
            </a:endParaRPr>
          </a:p>
          <a:p>
            <a:pPr marL="330200" marR="323850" algn="ctr">
              <a:lnSpc>
                <a:spcPct val="218200"/>
              </a:lnSpc>
            </a:pP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Splunk </a:t>
            </a:r>
            <a:r>
              <a:rPr sz="800" spc="5" dirty="0">
                <a:solidFill>
                  <a:srgbClr val="FFFFFF"/>
                </a:solidFill>
                <a:latin typeface="Arial MT"/>
                <a:cs typeface="Arial MT"/>
              </a:rPr>
              <a:t> </a:t>
            </a: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Ne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w </a:t>
            </a:r>
            <a:r>
              <a:rPr sz="800" spc="-5" dirty="0">
                <a:solidFill>
                  <a:srgbClr val="FFFFFF"/>
                </a:solidFill>
                <a:latin typeface="Arial MT"/>
                <a:cs typeface="Arial MT"/>
              </a:rPr>
              <a:t>Re</a:t>
            </a:r>
            <a:r>
              <a:rPr sz="800" dirty="0">
                <a:solidFill>
                  <a:srgbClr val="FFFFFF"/>
                </a:solidFill>
                <a:latin typeface="Arial MT"/>
                <a:cs typeface="Arial MT"/>
              </a:rPr>
              <a:t>lic</a:t>
            </a:r>
            <a:endParaRPr sz="800">
              <a:latin typeface="Arial MT"/>
              <a:cs typeface="Arial MT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1999487" y="4440936"/>
            <a:ext cx="489584" cy="247015"/>
          </a:xfrm>
          <a:custGeom>
            <a:avLst/>
            <a:gdLst/>
            <a:ahLst/>
            <a:cxnLst/>
            <a:rect l="l" t="t" r="r" b="b"/>
            <a:pathLst>
              <a:path w="489584" h="247014">
                <a:moveTo>
                  <a:pt x="489204" y="0"/>
                </a:moveTo>
                <a:lnTo>
                  <a:pt x="0" y="0"/>
                </a:lnTo>
                <a:lnTo>
                  <a:pt x="0" y="246887"/>
                </a:lnTo>
                <a:lnTo>
                  <a:pt x="489204" y="246887"/>
                </a:lnTo>
                <a:lnTo>
                  <a:pt x="489204" y="0"/>
                </a:lnTo>
                <a:close/>
              </a:path>
            </a:pathLst>
          </a:custGeom>
          <a:solidFill>
            <a:srgbClr val="006F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 txBox="1"/>
          <p:nvPr/>
        </p:nvSpPr>
        <p:spPr>
          <a:xfrm>
            <a:off x="2139493" y="4497452"/>
            <a:ext cx="208915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SVN</a:t>
            </a:r>
            <a:endParaRPr sz="700">
              <a:latin typeface="Arial MT"/>
              <a:cs typeface="Arial MT"/>
            </a:endParaRPr>
          </a:p>
        </p:txBody>
      </p:sp>
      <p:graphicFrame>
        <p:nvGraphicFramePr>
          <p:cNvPr id="68" name="object 68"/>
          <p:cNvGraphicFramePr>
            <a:graphicFrameLocks noGrp="1"/>
          </p:cNvGraphicFramePr>
          <p:nvPr/>
        </p:nvGraphicFramePr>
        <p:xfrm>
          <a:off x="3015997" y="3101340"/>
          <a:ext cx="1997073" cy="104088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65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41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65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97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52983"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3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Pair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7945" marB="0">
                    <a:lnB w="19050">
                      <a:solidFill>
                        <a:srgbClr val="F1F1F1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19050">
                      <a:solidFill>
                        <a:srgbClr val="F1F1F1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5250">
                        <a:lnSpc>
                          <a:spcPct val="100000"/>
                        </a:lnSpc>
                        <a:spcBef>
                          <a:spcPts val="45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uDeploy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57785" marB="0">
                    <a:lnB w="19050">
                      <a:solidFill>
                        <a:srgbClr val="F1F1F1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4413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solidFill>
                      <a:srgbClr val="F1F1F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30175">
                        <a:lnSpc>
                          <a:spcPct val="100000"/>
                        </a:lnSpc>
                        <a:spcBef>
                          <a:spcPts val="600"/>
                        </a:spcBef>
                        <a:tabLst>
                          <a:tab pos="650875" algn="l"/>
                        </a:tabLst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Fortify	Code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76200" marB="0">
                    <a:lnT w="19050">
                      <a:solidFill>
                        <a:srgbClr val="F1F1F1"/>
                      </a:solidFill>
                      <a:prstDash val="solid"/>
                    </a:lnT>
                    <a:lnB w="28575">
                      <a:solidFill>
                        <a:srgbClr val="FFFFFF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9050">
                      <a:solidFill>
                        <a:srgbClr val="F1F1F1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60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15"/>
                        </a:spcBef>
                      </a:pPr>
                      <a:r>
                        <a:rPr sz="700" spc="-10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Sonar</a:t>
                      </a:r>
                      <a:endParaRPr sz="700" dirty="0">
                        <a:latin typeface="Arial MT"/>
                        <a:cs typeface="Arial MT"/>
                      </a:endParaRPr>
                    </a:p>
                  </a:txBody>
                  <a:tcPr marL="0" marR="0" marT="78105" marB="0">
                    <a:lnT w="28575">
                      <a:solidFill>
                        <a:srgbClr val="FFFFFF"/>
                      </a:solidFill>
                      <a:prstDash val="solid"/>
                    </a:lnT>
                    <a:solidFill>
                      <a:srgbClr val="006F6C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28575">
                      <a:solidFill>
                        <a:srgbClr val="FFFFFF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T w="19050">
                      <a:solidFill>
                        <a:srgbClr val="F1F1F1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6887">
                <a:tc>
                  <a:txBody>
                    <a:bodyPr/>
                    <a:lstStyle/>
                    <a:p>
                      <a:pPr marL="151765">
                        <a:lnSpc>
                          <a:spcPct val="100000"/>
                        </a:lnSpc>
                        <a:spcBef>
                          <a:spcPts val="54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Junit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9215" marB="0"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1F1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T w="28575">
                      <a:solidFill>
                        <a:srgbClr val="FFFFFF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T w="19050">
                      <a:solidFill>
                        <a:srgbClr val="F1F1F1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9" name="object 69"/>
          <p:cNvSpPr/>
          <p:nvPr/>
        </p:nvSpPr>
        <p:spPr>
          <a:xfrm>
            <a:off x="5545836" y="2543556"/>
            <a:ext cx="490855" cy="245745"/>
          </a:xfrm>
          <a:custGeom>
            <a:avLst/>
            <a:gdLst/>
            <a:ahLst/>
            <a:cxnLst/>
            <a:rect l="l" t="t" r="r" b="b"/>
            <a:pathLst>
              <a:path w="490854" h="245744">
                <a:moveTo>
                  <a:pt x="490727" y="0"/>
                </a:moveTo>
                <a:lnTo>
                  <a:pt x="0" y="0"/>
                </a:lnTo>
                <a:lnTo>
                  <a:pt x="0" y="245363"/>
                </a:lnTo>
                <a:lnTo>
                  <a:pt x="490727" y="245363"/>
                </a:lnTo>
                <a:lnTo>
                  <a:pt x="490727" y="0"/>
                </a:lnTo>
                <a:close/>
              </a:path>
            </a:pathLst>
          </a:custGeom>
          <a:solidFill>
            <a:srgbClr val="006F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 txBox="1"/>
          <p:nvPr/>
        </p:nvSpPr>
        <p:spPr>
          <a:xfrm>
            <a:off x="5619115" y="2599437"/>
            <a:ext cx="34925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u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De</a:t>
            </a:r>
            <a:r>
              <a:rPr sz="700" spc="-10" dirty="0">
                <a:solidFill>
                  <a:srgbClr val="FFFFFF"/>
                </a:solidFill>
                <a:latin typeface="Arial MT"/>
                <a:cs typeface="Arial MT"/>
              </a:rPr>
              <a:t>p</a:t>
            </a:r>
            <a:r>
              <a:rPr sz="700" spc="-5" dirty="0">
                <a:solidFill>
                  <a:srgbClr val="FFFFFF"/>
                </a:solidFill>
                <a:latin typeface="Arial MT"/>
                <a:cs typeface="Arial MT"/>
              </a:rPr>
              <a:t>loy</a:t>
            </a:r>
            <a:endParaRPr sz="700">
              <a:latin typeface="Arial MT"/>
              <a:cs typeface="Arial MT"/>
            </a:endParaRPr>
          </a:p>
        </p:txBody>
      </p:sp>
      <p:sp>
        <p:nvSpPr>
          <p:cNvPr id="71" name="object 71"/>
          <p:cNvSpPr txBox="1">
            <a:spLocks noGrp="1"/>
          </p:cNvSpPr>
          <p:nvPr>
            <p:ph type="sldNum" sz="quarter" idx="7"/>
          </p:nvPr>
        </p:nvSpPr>
        <p:spPr>
          <a:xfrm>
            <a:off x="431291" y="6499816"/>
            <a:ext cx="1385570" cy="1701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094D80"/>
                </a:solidFill>
                <a:latin typeface="Arial MT"/>
                <a:ea typeface="+mn-ea"/>
                <a:cs typeface="Arial M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45"/>
              </a:spcBef>
              <a:tabLst>
                <a:tab pos="287020" algn="l"/>
              </a:tabLst>
            </a:pPr>
            <a:fld id="{81D60167-4931-47E6-BA6A-407CBD079E47}" type="slidenum">
              <a:rPr lang="en-US" b="1" spc="-5" smtClean="0">
                <a:latin typeface="Arial"/>
                <a:cs typeface="Arial"/>
              </a:rPr>
              <a:pPr marL="38100">
                <a:spcBef>
                  <a:spcPts val="145"/>
                </a:spcBef>
                <a:tabLst>
                  <a:tab pos="287020" algn="l"/>
                </a:tabLst>
              </a:pPr>
              <a:t>6</a:t>
            </a:fld>
            <a:r>
              <a:rPr lang="en-US" b="1" spc="-5">
                <a:latin typeface="Arial"/>
                <a:cs typeface="Arial"/>
              </a:rPr>
              <a:t>	</a:t>
            </a:r>
            <a:r>
              <a:rPr lang="en-US" sz="1350" baseline="9259">
                <a:solidFill>
                  <a:srgbClr val="415363"/>
                </a:solidFill>
              </a:rPr>
              <a:t>|</a:t>
            </a:r>
            <a:r>
              <a:rPr lang="en-US" sz="1350" spc="172" baseline="9259">
                <a:solidFill>
                  <a:srgbClr val="415363"/>
                </a:solidFill>
              </a:rPr>
              <a:t> </a:t>
            </a:r>
            <a:r>
              <a:rPr lang="en-US" spc="-5"/>
              <a:t>DevOps Handbook</a:t>
            </a:r>
            <a:endParaRPr sz="900">
              <a:latin typeface="Arial"/>
              <a:cs typeface="Arial"/>
            </a:endParaRP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80387" y="332359"/>
            <a:ext cx="2786380" cy="391160"/>
          </a:xfrm>
          <a:prstGeom prst="rect">
            <a:avLst/>
          </a:prstGeom>
        </p:spPr>
        <p:txBody>
          <a:bodyPr vert="horz" wrap="square" lIns="0" tIns="1270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094D80"/>
                </a:solidFill>
              </a:rPr>
              <a:t>Culture</a:t>
            </a:r>
            <a:r>
              <a:rPr spc="-25" dirty="0">
                <a:solidFill>
                  <a:srgbClr val="094D80"/>
                </a:solidFill>
              </a:rPr>
              <a:t> </a:t>
            </a:r>
            <a:r>
              <a:rPr dirty="0">
                <a:solidFill>
                  <a:srgbClr val="094D80"/>
                </a:solidFill>
              </a:rPr>
              <a:t>–</a:t>
            </a:r>
            <a:r>
              <a:rPr spc="-20" dirty="0">
                <a:solidFill>
                  <a:srgbClr val="094D80"/>
                </a:solidFill>
              </a:rPr>
              <a:t> </a:t>
            </a:r>
            <a:r>
              <a:rPr spc="-5" dirty="0">
                <a:solidFill>
                  <a:srgbClr val="094D80"/>
                </a:solidFill>
              </a:rPr>
              <a:t>Heat</a:t>
            </a:r>
            <a:r>
              <a:rPr spc="-15" dirty="0">
                <a:solidFill>
                  <a:srgbClr val="094D80"/>
                </a:solidFill>
              </a:rPr>
              <a:t> </a:t>
            </a:r>
            <a:r>
              <a:rPr dirty="0">
                <a:solidFill>
                  <a:srgbClr val="094D80"/>
                </a:solidFill>
              </a:rPr>
              <a:t>Map</a:t>
            </a:r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xfrm>
            <a:off x="431291" y="6499816"/>
            <a:ext cx="1385570" cy="1701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094D80"/>
                </a:solidFill>
                <a:latin typeface="Arial MT"/>
                <a:ea typeface="+mn-ea"/>
                <a:cs typeface="Arial M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45"/>
              </a:spcBef>
              <a:tabLst>
                <a:tab pos="287020" algn="l"/>
              </a:tabLst>
            </a:pPr>
            <a:fld id="{81D60167-4931-47E6-BA6A-407CBD079E47}" type="slidenum">
              <a:rPr lang="en-US" b="1" spc="-5" smtClean="0">
                <a:latin typeface="Arial"/>
                <a:cs typeface="Arial"/>
              </a:rPr>
              <a:pPr marL="38100">
                <a:spcBef>
                  <a:spcPts val="145"/>
                </a:spcBef>
                <a:tabLst>
                  <a:tab pos="287020" algn="l"/>
                </a:tabLst>
              </a:pPr>
              <a:t>7</a:t>
            </a:fld>
            <a:r>
              <a:rPr lang="en-US" b="1" spc="-5">
                <a:latin typeface="Arial"/>
                <a:cs typeface="Arial"/>
              </a:rPr>
              <a:t>	</a:t>
            </a:r>
            <a:r>
              <a:rPr lang="en-US" sz="1350" baseline="9259">
                <a:solidFill>
                  <a:srgbClr val="415363"/>
                </a:solidFill>
              </a:rPr>
              <a:t>|</a:t>
            </a:r>
            <a:r>
              <a:rPr lang="en-US" sz="1350" spc="172" baseline="9259">
                <a:solidFill>
                  <a:srgbClr val="415363"/>
                </a:solidFill>
              </a:rPr>
              <a:t> </a:t>
            </a:r>
            <a:r>
              <a:rPr lang="en-US" spc="-5"/>
              <a:t>DevOps Handbook</a:t>
            </a:r>
            <a:endParaRPr sz="900">
              <a:latin typeface="Arial"/>
              <a:cs typeface="Arial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752601" y="914400"/>
          <a:ext cx="8686800" cy="53339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74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15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15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897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01554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ub</a:t>
                      </a:r>
                      <a:r>
                        <a:rPr sz="11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ategory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urrent</a:t>
                      </a:r>
                      <a:r>
                        <a:rPr sz="1100" b="1" spc="-6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tate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uture</a:t>
                      </a:r>
                      <a:r>
                        <a:rPr sz="1100" b="1" spc="-6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tate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ecommendations</a:t>
                      </a:r>
                      <a:r>
                        <a:rPr sz="1100" b="1" spc="-5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1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omments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887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Project</a:t>
                      </a:r>
                      <a:r>
                        <a:rPr sz="70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Collaboration</a:t>
                      </a:r>
                      <a:r>
                        <a:rPr sz="70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&amp;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Community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35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1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35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999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35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300" marR="74930" indent="-172720">
                        <a:lnSpc>
                          <a:spcPct val="100000"/>
                        </a:lnSpc>
                        <a:spcBef>
                          <a:spcPts val="130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mmunities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reated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t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nterprise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/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cross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verticals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n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ifferent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kills</a:t>
                      </a:r>
                      <a:r>
                        <a:rPr sz="700" spc="-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.g.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M 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mmunity,</a:t>
                      </a:r>
                      <a:r>
                        <a:rPr sz="700" spc="6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UX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mmunity,</a:t>
                      </a:r>
                      <a:r>
                        <a:rPr sz="700" spc="6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mmunity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via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mmunity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/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llaboration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latform</a:t>
                      </a:r>
                      <a:endParaRPr sz="700" dirty="0">
                        <a:latin typeface="Arial MT"/>
                        <a:cs typeface="Arial MT"/>
                      </a:endParaRPr>
                    </a:p>
                    <a:p>
                      <a:pPr marL="241300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.g.</a:t>
                      </a:r>
                      <a:r>
                        <a:rPr sz="700" spc="-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jive</a:t>
                      </a:r>
                      <a:endParaRPr sz="700" dirty="0">
                        <a:latin typeface="Arial MT"/>
                        <a:cs typeface="Arial MT"/>
                      </a:endParaRPr>
                    </a:p>
                  </a:txBody>
                  <a:tcPr marL="0" marR="0" marT="165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868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Team</a:t>
                      </a:r>
                      <a:r>
                        <a:rPr sz="7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Collaboration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4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1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4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999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4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130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duction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upport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am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lso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o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de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hanges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hot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ixes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n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ath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duction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ranch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marR="18288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unified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ligned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ingle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am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sponsible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ll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way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duction.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“You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uild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t, </a:t>
                      </a:r>
                      <a:r>
                        <a:rPr sz="700" spc="-18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you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un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t”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–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hilosophy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llowed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with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hang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ind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et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65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7285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95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Overall</a:t>
                      </a:r>
                      <a:r>
                        <a:rPr sz="70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Release</a:t>
                      </a:r>
                      <a:r>
                        <a:rPr sz="7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Management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95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CI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A02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95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300" marR="151130" indent="-172720">
                        <a:lnSpc>
                          <a:spcPct val="100000"/>
                        </a:lnSpc>
                        <a:spcBef>
                          <a:spcPts val="130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ublish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xit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riteria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ach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gate,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utomate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s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uch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s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ossible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rough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e </a:t>
                      </a:r>
                      <a:r>
                        <a:rPr sz="700" spc="-18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amboo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ipeline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2)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velopment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am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has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al-time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wareness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bout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health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duction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nvironment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.g.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ceive production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lerts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2)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gulariz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leas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ycle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UAT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nvironment</a:t>
                      </a:r>
                      <a:r>
                        <a:rPr sz="700" spc="2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Weekly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65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285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95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Application</a:t>
                      </a:r>
                      <a:r>
                        <a:rPr sz="7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Release</a:t>
                      </a:r>
                      <a:r>
                        <a:rPr sz="7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Strategy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95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CI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A02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95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135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lement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zero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owntime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ployment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marR="37338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2)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lement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ipeline visualization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.g.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s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amboo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tages,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mote </a:t>
                      </a:r>
                      <a:r>
                        <a:rPr sz="700" spc="-18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ulture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am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lignment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marR="139700" indent="-172720">
                        <a:lnSpc>
                          <a:spcPct val="100000"/>
                        </a:lnSpc>
                        <a:spcBef>
                          <a:spcPts val="200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2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easuring</a:t>
                      </a:r>
                      <a:r>
                        <a:rPr sz="700" spc="5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key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etrics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n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ployment-</a:t>
                      </a:r>
                      <a:r>
                        <a:rPr sz="700" spc="5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ean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ime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cover,</a:t>
                      </a:r>
                      <a:r>
                        <a:rPr sz="700" spc="6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hang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ailur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ate, </a:t>
                      </a:r>
                      <a:r>
                        <a:rPr sz="700" spc="-18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ployment</a:t>
                      </a:r>
                      <a:r>
                        <a:rPr sz="700" spc="5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requency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tc.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4504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13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Data</a:t>
                      </a:r>
                      <a:r>
                        <a:rPr sz="7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Release</a:t>
                      </a:r>
                      <a:r>
                        <a:rPr sz="7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Strategy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3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N/A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3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N/A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135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Database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is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700" i="1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separate</a:t>
                      </a:r>
                      <a:r>
                        <a:rPr sz="700" i="1" spc="3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service.</a:t>
                      </a:r>
                      <a:endParaRPr sz="700">
                        <a:latin typeface="Arial"/>
                        <a:cs typeface="Arial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4505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13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Metrics</a:t>
                      </a:r>
                      <a:r>
                        <a:rPr sz="700" spc="4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–</a:t>
                      </a:r>
                      <a:r>
                        <a:rPr sz="700" spc="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Deployment</a:t>
                      </a:r>
                      <a:r>
                        <a:rPr sz="700" spc="4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Frequency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3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1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5FAEAE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3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135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2)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ov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aily</a:t>
                      </a:r>
                      <a:r>
                        <a:rPr sz="700" spc="-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leas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n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UAT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887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Change</a:t>
                      </a:r>
                      <a:r>
                        <a:rPr sz="7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Lead </a:t>
                      </a:r>
                      <a:r>
                        <a:rPr sz="700" dirty="0">
                          <a:latin typeface="Arial MT"/>
                          <a:cs typeface="Arial MT"/>
                        </a:rPr>
                        <a:t>Time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9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1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9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5FAEA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9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300" marR="295275" indent="-172720">
                        <a:lnSpc>
                          <a:spcPct val="100000"/>
                        </a:lnSpc>
                        <a:spcBef>
                          <a:spcPts val="135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bility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o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leas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less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an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1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week,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however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ubject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irector’s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pproval.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is 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hould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utomated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pproval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ased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n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quality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sting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gates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s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art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e 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ipeline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1689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Change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Failure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 Rate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704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1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704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5FAEAE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704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135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erform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tnightly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alysis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duction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ssues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understand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oo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aus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ring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own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>
                        <a:lnSpc>
                          <a:spcPct val="100000"/>
                        </a:lnSpc>
                      </a:pP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hange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ailure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at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less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an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1%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9594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700" spc="-15" dirty="0">
                          <a:latin typeface="Arial MT"/>
                          <a:cs typeface="Arial MT"/>
                        </a:rPr>
                        <a:t>Mean</a:t>
                      </a:r>
                      <a:r>
                        <a:rPr sz="700" spc="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dirty="0">
                          <a:latin typeface="Arial MT"/>
                          <a:cs typeface="Arial MT"/>
                        </a:rPr>
                        <a:t>Time</a:t>
                      </a:r>
                      <a:r>
                        <a:rPr sz="7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Recover</a:t>
                      </a:r>
                      <a:r>
                        <a:rPr sz="700" spc="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(MTTR)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5080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1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5080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  <a:solidFill>
                      <a:srgbClr val="5FAEAE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5080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400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easure</a:t>
                      </a:r>
                      <a:r>
                        <a:rPr sz="700" spc="5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TTR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keep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t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etween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t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rom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1hr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&lt;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x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&lt;6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hr</a:t>
                      </a:r>
                      <a:endParaRPr sz="700" dirty="0">
                        <a:latin typeface="Arial MT"/>
                        <a:cs typeface="Arial MT"/>
                      </a:endParaRPr>
                    </a:p>
                  </a:txBody>
                  <a:tcPr marL="0" marR="0" marT="5080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80387" y="332359"/>
            <a:ext cx="2786380" cy="391160"/>
          </a:xfrm>
          <a:prstGeom prst="rect">
            <a:avLst/>
          </a:prstGeom>
        </p:spPr>
        <p:txBody>
          <a:bodyPr vert="horz" wrap="square" lIns="0" tIns="1270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094D80"/>
                </a:solidFill>
              </a:rPr>
              <a:t>Culture</a:t>
            </a:r>
            <a:r>
              <a:rPr spc="-25" dirty="0">
                <a:solidFill>
                  <a:srgbClr val="094D80"/>
                </a:solidFill>
              </a:rPr>
              <a:t> </a:t>
            </a:r>
            <a:r>
              <a:rPr dirty="0">
                <a:solidFill>
                  <a:srgbClr val="094D80"/>
                </a:solidFill>
              </a:rPr>
              <a:t>–</a:t>
            </a:r>
            <a:r>
              <a:rPr spc="-20" dirty="0">
                <a:solidFill>
                  <a:srgbClr val="094D80"/>
                </a:solidFill>
              </a:rPr>
              <a:t> </a:t>
            </a:r>
            <a:r>
              <a:rPr spc="-5" dirty="0">
                <a:solidFill>
                  <a:srgbClr val="094D80"/>
                </a:solidFill>
              </a:rPr>
              <a:t>Heat</a:t>
            </a:r>
            <a:r>
              <a:rPr spc="-15" dirty="0">
                <a:solidFill>
                  <a:srgbClr val="094D80"/>
                </a:solidFill>
              </a:rPr>
              <a:t> </a:t>
            </a:r>
            <a:r>
              <a:rPr dirty="0">
                <a:solidFill>
                  <a:srgbClr val="094D80"/>
                </a:solidFill>
              </a:rPr>
              <a:t>Map</a:t>
            </a:r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xfrm>
            <a:off x="431291" y="6499816"/>
            <a:ext cx="1385570" cy="1701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094D80"/>
                </a:solidFill>
                <a:latin typeface="Arial MT"/>
                <a:ea typeface="+mn-ea"/>
                <a:cs typeface="Arial M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45"/>
              </a:spcBef>
              <a:tabLst>
                <a:tab pos="287020" algn="l"/>
              </a:tabLst>
            </a:pPr>
            <a:fld id="{81D60167-4931-47E6-BA6A-407CBD079E47}" type="slidenum">
              <a:rPr lang="en-US" b="1" spc="-5" smtClean="0">
                <a:latin typeface="Arial"/>
                <a:cs typeface="Arial"/>
              </a:rPr>
              <a:pPr marL="38100">
                <a:spcBef>
                  <a:spcPts val="145"/>
                </a:spcBef>
                <a:tabLst>
                  <a:tab pos="287020" algn="l"/>
                </a:tabLst>
              </a:pPr>
              <a:t>8</a:t>
            </a:fld>
            <a:r>
              <a:rPr lang="en-US" b="1" spc="-5">
                <a:latin typeface="Arial"/>
                <a:cs typeface="Arial"/>
              </a:rPr>
              <a:t>	</a:t>
            </a:r>
            <a:r>
              <a:rPr lang="en-US" sz="1350" baseline="9259">
                <a:solidFill>
                  <a:srgbClr val="415363"/>
                </a:solidFill>
              </a:rPr>
              <a:t>|</a:t>
            </a:r>
            <a:r>
              <a:rPr lang="en-US" sz="1350" spc="172" baseline="9259">
                <a:solidFill>
                  <a:srgbClr val="415363"/>
                </a:solidFill>
              </a:rPr>
              <a:t> </a:t>
            </a:r>
            <a:r>
              <a:rPr lang="en-US" spc="-5"/>
              <a:t>DevOps Handbook</a:t>
            </a:r>
            <a:endParaRPr sz="900">
              <a:latin typeface="Arial"/>
              <a:cs typeface="Arial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973784" y="914401"/>
          <a:ext cx="8229599" cy="54102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577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773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8266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ub</a:t>
                      </a:r>
                      <a:r>
                        <a:rPr sz="11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ategory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urrent</a:t>
                      </a:r>
                      <a:r>
                        <a:rPr sz="1100" b="1" spc="-6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tate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uture</a:t>
                      </a:r>
                      <a:r>
                        <a:rPr sz="1100" b="1" spc="-6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tate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ecommendations</a:t>
                      </a:r>
                      <a:r>
                        <a:rPr sz="1100" b="1" spc="-5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1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omments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550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Application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Code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 and</a:t>
                      </a:r>
                      <a:r>
                        <a:rPr sz="70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Configuration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4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4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700" dirty="0">
                          <a:latin typeface="Arial MT"/>
                          <a:cs typeface="Arial MT"/>
                        </a:rPr>
                        <a:t>-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4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41300" marR="354965" indent="-172720">
                        <a:lnSpc>
                          <a:spcPct val="100000"/>
                        </a:lnSpc>
                        <a:spcBef>
                          <a:spcPts val="130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Proper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Version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control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integrated</a:t>
                      </a:r>
                      <a:r>
                        <a:rPr sz="700" i="1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with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code display (Fisheye), defect/story</a:t>
                      </a:r>
                      <a:r>
                        <a:rPr sz="700" i="1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tracking </a:t>
                      </a:r>
                      <a:r>
                        <a:rPr sz="700" i="1" spc="-18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systems</a:t>
                      </a:r>
                      <a:r>
                        <a:rPr sz="700" i="1" spc="4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(jira)</a:t>
                      </a:r>
                      <a:r>
                        <a:rPr sz="700" i="1" spc="2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to</a:t>
                      </a:r>
                      <a:r>
                        <a:rPr sz="700" i="1" spc="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provide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traceability</a:t>
                      </a:r>
                      <a:r>
                        <a:rPr sz="700" i="1" spc="3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nd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reporting</a:t>
                      </a:r>
                      <a:r>
                        <a:rPr sz="700" i="1" spc="4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via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dashboards</a:t>
                      </a:r>
                      <a:endParaRPr sz="700">
                        <a:latin typeface="Arial"/>
                        <a:cs typeface="Arial"/>
                      </a:endParaRPr>
                    </a:p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Tagging</a:t>
                      </a:r>
                      <a:r>
                        <a:rPr sz="700" i="1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is</a:t>
                      </a:r>
                      <a:r>
                        <a:rPr sz="700" i="1" spc="-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utomated</a:t>
                      </a:r>
                      <a:endParaRPr sz="700">
                        <a:latin typeface="Arial"/>
                        <a:cs typeface="Arial"/>
                      </a:endParaRPr>
                    </a:p>
                  </a:txBody>
                  <a:tcPr marL="0" marR="0" marT="165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1850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Binary/Distribution</a:t>
                      </a:r>
                      <a:r>
                        <a:rPr sz="700" spc="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Management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985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985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700" dirty="0">
                          <a:latin typeface="Arial MT"/>
                          <a:cs typeface="Arial MT"/>
                        </a:rPr>
                        <a:t>-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985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41300" marR="440690" indent="-172720">
                        <a:lnSpc>
                          <a:spcPct val="100000"/>
                        </a:lnSpc>
                        <a:spcBef>
                          <a:spcPts val="130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Proper</a:t>
                      </a:r>
                      <a:r>
                        <a:rPr sz="700" i="1" spc="2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distribution</a:t>
                      </a:r>
                      <a:r>
                        <a:rPr sz="700" i="1" spc="3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tool</a:t>
                      </a:r>
                      <a:r>
                        <a:rPr sz="700" i="1" spc="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used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to</a:t>
                      </a:r>
                      <a:r>
                        <a:rPr sz="700" i="1" spc="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manage</a:t>
                      </a:r>
                      <a:r>
                        <a:rPr sz="700" i="1" spc="4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storage,</a:t>
                      </a:r>
                      <a:r>
                        <a:rPr sz="700" i="1" spc="5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distribution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of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ll</a:t>
                      </a:r>
                      <a:r>
                        <a:rPr sz="700" i="1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pplication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nd </a:t>
                      </a:r>
                      <a:r>
                        <a:rPr sz="700" i="1" spc="-18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dependent</a:t>
                      </a:r>
                      <a:r>
                        <a:rPr sz="700" i="1" spc="3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libraries</a:t>
                      </a:r>
                      <a:r>
                        <a:rPr sz="700" i="1" spc="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using</a:t>
                      </a:r>
                      <a:r>
                        <a:rPr sz="700" i="1" spc="2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uDeploy</a:t>
                      </a:r>
                      <a:r>
                        <a:rPr sz="700" i="1" spc="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version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control</a:t>
                      </a:r>
                      <a:endParaRPr sz="700">
                        <a:latin typeface="Arial"/>
                        <a:cs typeface="Arial"/>
                      </a:endParaRPr>
                    </a:p>
                  </a:txBody>
                  <a:tcPr marL="0" marR="0" marT="165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1886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Dev</a:t>
                      </a:r>
                      <a:r>
                        <a:rPr sz="7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Quality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CI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A02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130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lement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onar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S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ject(s)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oth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de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B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marR="9398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lement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quality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gates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onar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tatic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d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violation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u="sng" spc="-10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u="sng" spc="10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u="sng" spc="-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fail</a:t>
                      </a:r>
                      <a:r>
                        <a:rPr sz="700" u="sng" spc="10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u="sng" spc="-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700" u="sng" spc="20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u="sng" spc="-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build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y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locker </a:t>
                      </a:r>
                      <a:r>
                        <a:rPr sz="700" spc="-18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ritical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ssue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ported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lemen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quality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gate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y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violation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uring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tify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hecks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u="sng" spc="-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fail</a:t>
                      </a:r>
                      <a:r>
                        <a:rPr sz="700" u="sng" spc="1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u="sng" spc="-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700" u="sng" spc="1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u="sng" spc="-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build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marR="158750" indent="-172720">
                        <a:lnSpc>
                          <a:spcPct val="100000"/>
                        </a:lnSpc>
                        <a:spcBef>
                          <a:spcPts val="195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2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lemen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mal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cess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ddress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ch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bt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pplication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actor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ffort </a:t>
                      </a:r>
                      <a:r>
                        <a:rPr sz="700" spc="-18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duc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t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er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prin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/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lease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65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313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Unit</a:t>
                      </a:r>
                      <a:r>
                        <a:rPr sz="700" spc="-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Testing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CI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A02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130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onitor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d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verage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s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ar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onar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lemen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quality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gates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onar</a:t>
                      </a:r>
                      <a:r>
                        <a:rPr sz="700" spc="2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d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verage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u="sng" spc="-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fail</a:t>
                      </a:r>
                      <a:r>
                        <a:rPr sz="700" u="sng" spc="1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u="sng" spc="-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700" u="sng" spc="1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u="sng" spc="-5" dirty="0">
                          <a:solidFill>
                            <a:srgbClr val="415363"/>
                          </a:solidFill>
                          <a:uFill>
                            <a:solidFill>
                              <a:srgbClr val="415363"/>
                            </a:solidFill>
                          </a:uFill>
                          <a:latin typeface="Arial MT"/>
                          <a:cs typeface="Arial MT"/>
                        </a:rPr>
                        <a:t>build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if</a:t>
                      </a:r>
                      <a:r>
                        <a:rPr sz="700" spc="2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elow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80%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2)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lement</a:t>
                      </a:r>
                      <a:r>
                        <a:rPr sz="700" spc="25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tric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tandard</a:t>
                      </a:r>
                      <a:r>
                        <a:rPr sz="700" spc="5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n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DD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o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at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verage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oesn’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rop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elow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80%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ver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65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313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Build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25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700" spc="-10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CI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25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A02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20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25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135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lement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ingle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uild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cess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uild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ll TS components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200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tegrate</a:t>
                      </a:r>
                      <a:r>
                        <a:rPr sz="700" spc="5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tegration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st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ases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e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art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uild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cess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4130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2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tegrate</a:t>
                      </a:r>
                      <a:r>
                        <a:rPr sz="700" spc="5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ployment</a:t>
                      </a:r>
                      <a:r>
                        <a:rPr sz="700" spc="254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UAT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s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ar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uild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cess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3917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Deploy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82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1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82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5FAEAE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82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64160" indent="-172720">
                        <a:lnSpc>
                          <a:spcPct val="100000"/>
                        </a:lnSpc>
                        <a:spcBef>
                          <a:spcPts val="380"/>
                        </a:spcBef>
                        <a:buFont typeface="Wingdings"/>
                        <a:buChar char=""/>
                        <a:tabLst>
                          <a:tab pos="264160" algn="l"/>
                          <a:tab pos="26479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lement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zero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owntim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ployments</a:t>
                      </a:r>
                      <a:r>
                        <a:rPr sz="700" spc="6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[blu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green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trategy]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82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916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Automated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Testing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1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5FAEA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64160" indent="-172720">
                        <a:lnSpc>
                          <a:spcPct val="100000"/>
                        </a:lnSpc>
                        <a:spcBef>
                          <a:spcPts val="130"/>
                        </a:spcBef>
                        <a:buFont typeface="Wingdings"/>
                        <a:buChar char=""/>
                        <a:tabLst>
                          <a:tab pos="264160" algn="l"/>
                          <a:tab pos="264795" algn="l"/>
                        </a:tabLst>
                      </a:pP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crease</a:t>
                      </a:r>
                      <a:r>
                        <a:rPr sz="700" spc="5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cope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tegration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st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ases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rom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75%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95%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6416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64160" algn="l"/>
                          <a:tab pos="26479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rogressiv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sting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s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utomated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ame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teration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/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print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64160" marR="280670" indent="-172720">
                        <a:lnSpc>
                          <a:spcPct val="100000"/>
                        </a:lnSpc>
                        <a:spcBef>
                          <a:spcPts val="209"/>
                        </a:spcBef>
                        <a:buFont typeface="Wingdings"/>
                        <a:buChar char=""/>
                        <a:tabLst>
                          <a:tab pos="264160" algn="l"/>
                          <a:tab pos="264795" algn="l"/>
                        </a:tabLst>
                      </a:pP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easure</a:t>
                      </a:r>
                      <a:r>
                        <a:rPr sz="700" spc="5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de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verage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while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unning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tegration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sting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aintain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reshold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f </a:t>
                      </a:r>
                      <a:r>
                        <a:rPr sz="700" spc="-18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80%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of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nd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oints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tc.)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65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3154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NFR</a:t>
                      </a:r>
                      <a:r>
                        <a:rPr sz="7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(Non</a:t>
                      </a:r>
                      <a:r>
                        <a:rPr sz="700" spc="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Func</a:t>
                      </a:r>
                      <a:r>
                        <a:rPr sz="700" spc="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Req)</a:t>
                      </a:r>
                      <a:r>
                        <a:rPr sz="70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Testing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CI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A02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64160" indent="-172720">
                        <a:lnSpc>
                          <a:spcPct val="100000"/>
                        </a:lnSpc>
                        <a:spcBef>
                          <a:spcPts val="135"/>
                        </a:spcBef>
                        <a:buFont typeface="Wingdings"/>
                        <a:buChar char=""/>
                        <a:tabLst>
                          <a:tab pos="264160" algn="l"/>
                          <a:tab pos="26479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reate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utomated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load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sting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uit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ertify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 release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s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quired.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is can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e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64160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used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n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eriodic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asis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 assess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act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n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erformance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64160" marR="52451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64160" algn="l"/>
                          <a:tab pos="26479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2)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mplemen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ntrolled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erformance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gression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uite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e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un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n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QA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/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IT </a:t>
                      </a:r>
                      <a:r>
                        <a:rPr sz="700" spc="-17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nvironmen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heck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or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y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grade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etween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leases,</a:t>
                      </a:r>
                      <a:r>
                        <a:rPr sz="700" spc="4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s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art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ipeline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3154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Testing</a:t>
                      </a:r>
                      <a:r>
                        <a:rPr sz="7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Gates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CI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A02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64160" marR="89535" indent="-172720">
                        <a:lnSpc>
                          <a:spcPct val="100000"/>
                        </a:lnSpc>
                        <a:spcBef>
                          <a:spcPts val="135"/>
                        </a:spcBef>
                        <a:buFont typeface="Wingdings"/>
                        <a:buChar char=""/>
                        <a:tabLst>
                          <a:tab pos="264160" algn="l"/>
                          <a:tab pos="26479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efine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sting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gates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[Unit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st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ases,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d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coverage,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gression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sults,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erformance </a:t>
                      </a:r>
                      <a:r>
                        <a:rPr sz="700" spc="-17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sults]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nd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nforced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trictly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264160" marR="10668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64160" algn="l"/>
                          <a:tab pos="26479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2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ublish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ashboards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s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art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each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release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how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how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ifferent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gates</a:t>
                      </a:r>
                      <a:r>
                        <a:rPr sz="700" spc="3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re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met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from </a:t>
                      </a:r>
                      <a:r>
                        <a:rPr sz="700" spc="-18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quality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erspective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3792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DB</a:t>
                      </a:r>
                      <a:r>
                        <a:rPr sz="7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Versioning &amp;</a:t>
                      </a:r>
                      <a:r>
                        <a:rPr sz="700" spc="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Change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Management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82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N/A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82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N/A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82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64160" indent="-172720">
                        <a:lnSpc>
                          <a:spcPct val="100000"/>
                        </a:lnSpc>
                        <a:spcBef>
                          <a:spcPts val="380"/>
                        </a:spcBef>
                        <a:buFont typeface="Wingdings"/>
                        <a:buChar char=""/>
                        <a:tabLst>
                          <a:tab pos="264160" algn="l"/>
                          <a:tab pos="264795" algn="l"/>
                        </a:tabLst>
                      </a:pP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ll</a:t>
                      </a:r>
                      <a:r>
                        <a:rPr sz="700" i="1" spc="-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DB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Scripts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re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Consistently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checked</a:t>
                      </a:r>
                      <a:r>
                        <a:rPr sz="700" i="1" spc="2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in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Code</a:t>
                      </a:r>
                      <a:r>
                        <a:rPr sz="700" i="1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Repository</a:t>
                      </a:r>
                      <a:r>
                        <a:rPr sz="700" i="1" spc="3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SVN</a:t>
                      </a:r>
                      <a:endParaRPr sz="700">
                        <a:latin typeface="Arial"/>
                        <a:cs typeface="Arial"/>
                      </a:endParaRPr>
                    </a:p>
                  </a:txBody>
                  <a:tcPr marL="0" marR="0" marT="482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99477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660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Pipeline</a:t>
                      </a:r>
                      <a:r>
                        <a:rPr sz="7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Agility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8382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660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CI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8382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  <a:solidFill>
                      <a:srgbClr val="E8A022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660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8382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64160" indent="-172720">
                        <a:lnSpc>
                          <a:spcPct val="100000"/>
                        </a:lnSpc>
                        <a:spcBef>
                          <a:spcPts val="135"/>
                        </a:spcBef>
                        <a:buFont typeface="Wingdings"/>
                        <a:buChar char=""/>
                        <a:tabLst>
                          <a:tab pos="264160" algn="l"/>
                          <a:tab pos="26479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1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ring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own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tegration</a:t>
                      </a:r>
                      <a:r>
                        <a:rPr sz="700" spc="7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st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ime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etween</a:t>
                      </a:r>
                      <a:r>
                        <a:rPr sz="700" spc="4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1-2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hrs.</a:t>
                      </a:r>
                      <a:endParaRPr sz="700" dirty="0">
                        <a:latin typeface="Arial MT"/>
                        <a:cs typeface="Arial MT"/>
                      </a:endParaRPr>
                    </a:p>
                    <a:p>
                      <a:pPr marL="264160" indent="-172720">
                        <a:lnSpc>
                          <a:spcPct val="100000"/>
                        </a:lnSpc>
                        <a:spcBef>
                          <a:spcPts val="204"/>
                        </a:spcBef>
                        <a:buFont typeface="Wingdings"/>
                        <a:buChar char=""/>
                        <a:tabLst>
                          <a:tab pos="264160" algn="l"/>
                          <a:tab pos="26479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(2)</a:t>
                      </a:r>
                      <a:r>
                        <a:rPr sz="700" spc="2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ring</a:t>
                      </a: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own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Integration</a:t>
                      </a:r>
                      <a:r>
                        <a:rPr sz="700" spc="7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st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ime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less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han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1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hrs.</a:t>
                      </a:r>
                      <a:endParaRPr sz="700" dirty="0">
                        <a:latin typeface="Arial MT"/>
                        <a:cs typeface="Arial MT"/>
                      </a:endParaRPr>
                    </a:p>
                  </a:txBody>
                  <a:tcPr marL="0" marR="0" marT="17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80387" y="332359"/>
            <a:ext cx="6479540" cy="391160"/>
          </a:xfrm>
          <a:prstGeom prst="rect">
            <a:avLst/>
          </a:prstGeom>
        </p:spPr>
        <p:txBody>
          <a:bodyPr vert="horz" wrap="square" lIns="0" tIns="1270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2700">
              <a:spcBef>
                <a:spcPts val="100"/>
              </a:spcBef>
            </a:pPr>
            <a:r>
              <a:rPr dirty="0">
                <a:solidFill>
                  <a:srgbClr val="094D80"/>
                </a:solidFill>
              </a:rPr>
              <a:t>Infrastructure</a:t>
            </a:r>
            <a:r>
              <a:rPr spc="-10" dirty="0">
                <a:solidFill>
                  <a:srgbClr val="094D80"/>
                </a:solidFill>
              </a:rPr>
              <a:t> </a:t>
            </a:r>
            <a:r>
              <a:rPr dirty="0">
                <a:solidFill>
                  <a:srgbClr val="094D80"/>
                </a:solidFill>
              </a:rPr>
              <a:t>on</a:t>
            </a:r>
            <a:r>
              <a:rPr spc="-15" dirty="0">
                <a:solidFill>
                  <a:srgbClr val="094D80"/>
                </a:solidFill>
              </a:rPr>
              <a:t> </a:t>
            </a:r>
            <a:r>
              <a:rPr spc="-5" dirty="0">
                <a:solidFill>
                  <a:srgbClr val="094D80"/>
                </a:solidFill>
              </a:rPr>
              <a:t>Demand (PaaS)</a:t>
            </a:r>
            <a:r>
              <a:rPr spc="5" dirty="0">
                <a:solidFill>
                  <a:srgbClr val="094D80"/>
                </a:solidFill>
              </a:rPr>
              <a:t> </a:t>
            </a:r>
            <a:r>
              <a:rPr dirty="0">
                <a:solidFill>
                  <a:srgbClr val="094D80"/>
                </a:solidFill>
              </a:rPr>
              <a:t>–</a:t>
            </a:r>
            <a:r>
              <a:rPr spc="-5" dirty="0">
                <a:solidFill>
                  <a:srgbClr val="094D80"/>
                </a:solidFill>
              </a:rPr>
              <a:t> Heat</a:t>
            </a:r>
            <a:r>
              <a:rPr spc="-10" dirty="0">
                <a:solidFill>
                  <a:srgbClr val="094D80"/>
                </a:solidFill>
              </a:rPr>
              <a:t> </a:t>
            </a:r>
            <a:r>
              <a:rPr dirty="0">
                <a:solidFill>
                  <a:srgbClr val="094D80"/>
                </a:solidFill>
              </a:rPr>
              <a:t>Map</a:t>
            </a:r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xfrm>
            <a:off x="431291" y="6499816"/>
            <a:ext cx="1385570" cy="1701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b="0" i="0" kern="1200">
                <a:solidFill>
                  <a:srgbClr val="094D80"/>
                </a:solidFill>
                <a:latin typeface="Arial MT"/>
                <a:ea typeface="+mn-ea"/>
                <a:cs typeface="Arial M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45"/>
              </a:spcBef>
              <a:tabLst>
                <a:tab pos="287020" algn="l"/>
              </a:tabLst>
            </a:pPr>
            <a:fld id="{81D60167-4931-47E6-BA6A-407CBD079E47}" type="slidenum">
              <a:rPr lang="en-US" b="1" spc="-5" smtClean="0">
                <a:latin typeface="Arial"/>
                <a:cs typeface="Arial"/>
              </a:rPr>
              <a:pPr marL="38100">
                <a:spcBef>
                  <a:spcPts val="145"/>
                </a:spcBef>
                <a:tabLst>
                  <a:tab pos="287020" algn="l"/>
                </a:tabLst>
              </a:pPr>
              <a:t>9</a:t>
            </a:fld>
            <a:r>
              <a:rPr lang="en-US" b="1" spc="-5">
                <a:latin typeface="Arial"/>
                <a:cs typeface="Arial"/>
              </a:rPr>
              <a:t>	</a:t>
            </a:r>
            <a:r>
              <a:rPr lang="en-US" sz="1350" baseline="9259">
                <a:solidFill>
                  <a:srgbClr val="415363"/>
                </a:solidFill>
              </a:rPr>
              <a:t>|</a:t>
            </a:r>
            <a:r>
              <a:rPr lang="en-US" sz="1350" spc="172" baseline="9259">
                <a:solidFill>
                  <a:srgbClr val="415363"/>
                </a:solidFill>
              </a:rPr>
              <a:t> </a:t>
            </a:r>
            <a:r>
              <a:rPr lang="en-US" spc="-5"/>
              <a:t>DevOps Handbook</a:t>
            </a:r>
            <a:endParaRPr sz="900">
              <a:latin typeface="Arial"/>
              <a:cs typeface="Arial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973783" y="914400"/>
          <a:ext cx="8233408" cy="5410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41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82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82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435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70177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ub</a:t>
                      </a:r>
                      <a:r>
                        <a:rPr sz="11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ategory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urrent</a:t>
                      </a:r>
                      <a:r>
                        <a:rPr sz="1100" b="1" spc="-6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tate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uture</a:t>
                      </a:r>
                      <a:r>
                        <a:rPr sz="1100" b="1" spc="-6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tate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ecommendations</a:t>
                      </a:r>
                      <a:r>
                        <a:rPr sz="1100" b="1" spc="-5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i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100" b="1" i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i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omments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094D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5216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67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Automated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Provisioning</a:t>
                      </a:r>
                      <a:endParaRPr sz="700">
                        <a:latin typeface="Arial MT"/>
                        <a:cs typeface="Arial MT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*</a:t>
                      </a:r>
                      <a:r>
                        <a:rPr sz="70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Post</a:t>
                      </a:r>
                      <a:r>
                        <a:rPr sz="70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hardware</a:t>
                      </a:r>
                      <a:r>
                        <a:rPr sz="700" spc="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/</a:t>
                      </a:r>
                      <a:r>
                        <a:rPr sz="700" spc="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OS</a:t>
                      </a:r>
                      <a:r>
                        <a:rPr sz="700" spc="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is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provided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8572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5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5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700" dirty="0">
                          <a:latin typeface="Arial MT"/>
                          <a:cs typeface="Arial MT"/>
                        </a:rPr>
                        <a:t>-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41935" marR="77470" indent="-172720">
                        <a:lnSpc>
                          <a:spcPct val="100000"/>
                        </a:lnSpc>
                        <a:spcBef>
                          <a:spcPts val="254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Proper</a:t>
                      </a:r>
                      <a:r>
                        <a:rPr sz="700" i="1" spc="3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support</a:t>
                      </a:r>
                      <a:r>
                        <a:rPr sz="700" i="1" spc="4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On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Demand</a:t>
                      </a:r>
                      <a:r>
                        <a:rPr sz="700" i="1" spc="4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build</a:t>
                      </a:r>
                      <a:r>
                        <a:rPr sz="700" i="1" spc="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out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nd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tear</a:t>
                      </a:r>
                      <a:r>
                        <a:rPr sz="700" i="1" spc="3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down</a:t>
                      </a:r>
                      <a:r>
                        <a:rPr sz="700" i="1" spc="2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of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environment</a:t>
                      </a:r>
                      <a:r>
                        <a:rPr sz="700" i="1" spc="6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in</a:t>
                      </a:r>
                      <a:r>
                        <a:rPr sz="700" i="1" spc="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minutes. </a:t>
                      </a:r>
                      <a:r>
                        <a:rPr sz="700" i="1" spc="-18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This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includes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standardized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software,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pp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installation, configuration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nd usage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from</a:t>
                      </a:r>
                      <a:r>
                        <a:rPr sz="700" i="1" spc="2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dev.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to</a:t>
                      </a:r>
                      <a:r>
                        <a:rPr sz="700" i="1" spc="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prod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via</a:t>
                      </a:r>
                      <a:r>
                        <a:rPr sz="700" i="1" spc="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CloudFoundary</a:t>
                      </a:r>
                      <a:endParaRPr sz="700">
                        <a:latin typeface="Arial"/>
                        <a:cs typeface="Arial"/>
                      </a:endParaRPr>
                    </a:p>
                  </a:txBody>
                  <a:tcPr marL="0" marR="0" marT="3238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778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Infrastructure</a:t>
                      </a:r>
                      <a:r>
                        <a:rPr sz="700" spc="3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Code</a:t>
                      </a:r>
                      <a:r>
                        <a:rPr sz="700" spc="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and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Configuration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38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38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700" dirty="0">
                          <a:latin typeface="Arial MT"/>
                          <a:cs typeface="Arial MT"/>
                        </a:rPr>
                        <a:t>-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38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8795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Application</a:t>
                      </a:r>
                      <a:r>
                        <a:rPr sz="700" spc="-20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Monitoring</a:t>
                      </a:r>
                      <a:endParaRPr sz="700" dirty="0">
                        <a:latin typeface="Arial MT"/>
                        <a:cs typeface="Arial MT"/>
                      </a:endParaRPr>
                    </a:p>
                  </a:txBody>
                  <a:tcPr marL="0" marR="0" marT="863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1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863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5FAEAE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8636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 marL="241935" marR="136525" indent="-172720">
                        <a:lnSpc>
                          <a:spcPct val="100000"/>
                        </a:lnSpc>
                        <a:spcBef>
                          <a:spcPts val="259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ata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lerts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o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be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dded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s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part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f</a:t>
                      </a:r>
                      <a:r>
                        <a:rPr sz="700" spc="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pplication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or</a:t>
                      </a:r>
                      <a:r>
                        <a:rPr sz="700" spc="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Support</a:t>
                      </a:r>
                      <a:r>
                        <a:rPr sz="700" spc="3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Application.</a:t>
                      </a:r>
                      <a:r>
                        <a:rPr sz="700" spc="2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iscuss </a:t>
                      </a:r>
                      <a:r>
                        <a:rPr sz="700" spc="-18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with</a:t>
                      </a:r>
                      <a:r>
                        <a:rPr sz="700" spc="1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DBA</a:t>
                      </a:r>
                      <a:r>
                        <a:rPr sz="700" spc="-1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Team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3301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6778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End</a:t>
                      </a:r>
                      <a:r>
                        <a:rPr sz="7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User</a:t>
                      </a:r>
                      <a:r>
                        <a:rPr sz="700" spc="-1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Monitoring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38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N/A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38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N/A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438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3607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105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Logging</a:t>
                      </a:r>
                      <a:r>
                        <a:rPr sz="700" spc="-3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latin typeface="Arial MT"/>
                          <a:cs typeface="Arial MT"/>
                        </a:rPr>
                        <a:t>Insights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9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105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9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105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700" dirty="0">
                          <a:solidFill>
                            <a:srgbClr val="415363"/>
                          </a:solidFill>
                          <a:latin typeface="Arial MT"/>
                          <a:cs typeface="Arial MT"/>
                        </a:rPr>
                        <a:t>-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69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  <a:p>
                      <a:pPr marL="241935" marR="205740" indent="-172720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Spulnk</a:t>
                      </a:r>
                      <a:r>
                        <a:rPr sz="700" i="1" spc="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tool</a:t>
                      </a:r>
                      <a:r>
                        <a:rPr sz="700" i="1" spc="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is used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cross</a:t>
                      </a:r>
                      <a:r>
                        <a:rPr sz="700" i="1" spc="3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PaaS</a:t>
                      </a:r>
                      <a:r>
                        <a:rPr sz="700" i="1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pplication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to</a:t>
                      </a:r>
                      <a:r>
                        <a:rPr sz="700" i="1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monitor</a:t>
                      </a:r>
                      <a:r>
                        <a:rPr sz="700" i="1" spc="5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logs</a:t>
                      </a:r>
                      <a:r>
                        <a:rPr sz="700" i="1" spc="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cross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products </a:t>
                      </a:r>
                      <a:r>
                        <a:rPr sz="700" i="1" spc="-18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nd</a:t>
                      </a:r>
                      <a:r>
                        <a:rPr sz="700" i="1" spc="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user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journey.</a:t>
                      </a:r>
                      <a:endParaRPr sz="700">
                        <a:latin typeface="Arial"/>
                        <a:cs typeface="Arial"/>
                      </a:endParaRPr>
                    </a:p>
                  </a:txBody>
                  <a:tcPr marL="0" marR="0" marT="44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03638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</a:pPr>
                      <a:r>
                        <a:rPr sz="700" spc="-5" dirty="0">
                          <a:latin typeface="Arial MT"/>
                          <a:cs typeface="Arial MT"/>
                        </a:rPr>
                        <a:t>Infrastructure</a:t>
                      </a:r>
                      <a:r>
                        <a:rPr sz="700" spc="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10" dirty="0">
                          <a:latin typeface="Arial MT"/>
                          <a:cs typeface="Arial MT"/>
                        </a:rPr>
                        <a:t>Monitoring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DevOps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Level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 </a:t>
                      </a:r>
                      <a:r>
                        <a:rPr sz="700" spc="-5" dirty="0">
                          <a:solidFill>
                            <a:srgbClr val="FFFFFF"/>
                          </a:solidFill>
                          <a:latin typeface="Arial MT"/>
                          <a:cs typeface="Arial MT"/>
                        </a:rPr>
                        <a:t>2</a:t>
                      </a:r>
                      <a:endParaRPr sz="7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  <a:solidFill>
                      <a:srgbClr val="006F6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700" dirty="0">
                          <a:latin typeface="Arial MT"/>
                          <a:cs typeface="Arial MT"/>
                        </a:rPr>
                        <a:t>-</a:t>
                      </a: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  <a:p>
                      <a:pPr marL="241935" marR="216535" indent="-172720">
                        <a:lnSpc>
                          <a:spcPct val="100000"/>
                        </a:lnSpc>
                        <a:buFont typeface="Wingdings"/>
                        <a:buChar char=""/>
                        <a:tabLst>
                          <a:tab pos="241300" algn="l"/>
                          <a:tab pos="241935" algn="l"/>
                        </a:tabLst>
                      </a:pP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Proper</a:t>
                      </a:r>
                      <a:r>
                        <a:rPr sz="700" i="1" spc="3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infrastructure</a:t>
                      </a:r>
                      <a:r>
                        <a:rPr sz="700" i="1" spc="7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for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monitoring</a:t>
                      </a:r>
                      <a:r>
                        <a:rPr sz="700" i="1" spc="6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nd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lerting</a:t>
                      </a:r>
                      <a:r>
                        <a:rPr sz="700" i="1" spc="2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cross</a:t>
                      </a:r>
                      <a:r>
                        <a:rPr sz="700" i="1" spc="2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ll</a:t>
                      </a:r>
                      <a:r>
                        <a:rPr sz="700" i="1" spc="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environments</a:t>
                      </a:r>
                      <a:r>
                        <a:rPr sz="700" i="1" spc="7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via </a:t>
                      </a:r>
                      <a:r>
                        <a:rPr sz="700" i="1" spc="-18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New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Relic </a:t>
                      </a:r>
                      <a:r>
                        <a:rPr sz="700" i="1" spc="-10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and</a:t>
                      </a:r>
                      <a:r>
                        <a:rPr sz="700" i="1" spc="1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i="1" spc="-5" dirty="0">
                          <a:solidFill>
                            <a:srgbClr val="415363"/>
                          </a:solidFill>
                          <a:latin typeface="Arial"/>
                          <a:cs typeface="Arial"/>
                        </a:rPr>
                        <a:t>Splunk</a:t>
                      </a:r>
                      <a:endParaRPr sz="700" dirty="0">
                        <a:latin typeface="Arial"/>
                        <a:cs typeface="Arial"/>
                      </a:endParaRPr>
                    </a:p>
                  </a:txBody>
                  <a:tcPr marL="0" marR="0" marT="50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A6A6A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HCL Template">
  <a:themeElements>
    <a:clrScheme name="HCLTech">
      <a:dk1>
        <a:srgbClr val="000000"/>
      </a:dk1>
      <a:lt1>
        <a:srgbClr val="FFFFFF"/>
      </a:lt1>
      <a:dk2>
        <a:srgbClr val="5EC1EF"/>
      </a:dk2>
      <a:lt2>
        <a:srgbClr val="0066B3"/>
      </a:lt2>
      <a:accent1>
        <a:srgbClr val="EB1946"/>
      </a:accent1>
      <a:accent2>
        <a:srgbClr val="F58220"/>
      </a:accent2>
      <a:accent3>
        <a:srgbClr val="FAB914"/>
      </a:accent3>
      <a:accent4>
        <a:srgbClr val="BED732"/>
      </a:accent4>
      <a:accent5>
        <a:srgbClr val="00AFBE"/>
      </a:accent5>
      <a:accent6>
        <a:srgbClr val="5A2D91"/>
      </a:accent6>
      <a:hlink>
        <a:srgbClr val="0000FF"/>
      </a:hlink>
      <a:folHlink>
        <a:srgbClr val="29292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9</TotalTime>
  <Words>1975</Words>
  <Application>Microsoft Office PowerPoint</Application>
  <PresentationFormat>Widescreen</PresentationFormat>
  <Paragraphs>433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Arial</vt:lpstr>
      <vt:lpstr>Arial MT</vt:lpstr>
      <vt:lpstr>Calibri</vt:lpstr>
      <vt:lpstr>Lucida Sans</vt:lpstr>
      <vt:lpstr>Novecento Book</vt:lpstr>
      <vt:lpstr>Roboto</vt:lpstr>
      <vt:lpstr>Segoe UI Symbol</vt:lpstr>
      <vt:lpstr>Times New Roman</vt:lpstr>
      <vt:lpstr>Trebuchet MS</vt:lpstr>
      <vt:lpstr>Wingdings</vt:lpstr>
      <vt:lpstr>Wingdings 2</vt:lpstr>
      <vt:lpstr>1_HCL Template</vt:lpstr>
      <vt:lpstr>think-cell Slide</vt:lpstr>
      <vt:lpstr>PowerPoint Presentation</vt:lpstr>
      <vt:lpstr>DevOps Maturity Model</vt:lpstr>
      <vt:lpstr>DevOps Assessment Process</vt:lpstr>
      <vt:lpstr>PowerPoint Presentation</vt:lpstr>
      <vt:lpstr>Current State – DevOps Pipeline (Example)</vt:lpstr>
      <vt:lpstr>Future State – DevOps Pipeline (Modularization Example)</vt:lpstr>
      <vt:lpstr>Culture – Heat Map</vt:lpstr>
      <vt:lpstr>Culture – Heat Map</vt:lpstr>
      <vt:lpstr>Infrastructure on Demand (PaaS) – Heat Map</vt:lpstr>
      <vt:lpstr>DevSecOps - CI process with Security checks</vt:lpstr>
      <vt:lpstr>DevSecOps - Continuous security validation to CI/CD pipeline – Industry Recommendations</vt:lpstr>
      <vt:lpstr>Issues and Pain points – Can be addressed</vt:lpstr>
      <vt:lpstr>Benefits</vt:lpstr>
      <vt:lpstr>Approx. Resources, Time and RO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Y CLOUD ASSESSMENT ?</dc:title>
  <cp:lastModifiedBy>Pulkit Kumar</cp:lastModifiedBy>
  <cp:revision>21</cp:revision>
  <dcterms:created xsi:type="dcterms:W3CDTF">2021-09-24T05:26:47Z</dcterms:created>
  <dcterms:modified xsi:type="dcterms:W3CDTF">2022-04-13T02:5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265294b0-b54b-4294-887d-7150d0908b06</vt:lpwstr>
  </property>
  <property fmtid="{D5CDD505-2E9C-101B-9397-08002B2CF9AE}" pid="3" name="HCLClassification">
    <vt:lpwstr>HCL_Cla5s_C0nf1dent1al</vt:lpwstr>
  </property>
  <property fmtid="{D5CDD505-2E9C-101B-9397-08002B2CF9AE}" pid="4" name="HCLClassD6">
    <vt:lpwstr>False</vt:lpwstr>
  </property>
</Properties>
</file>